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4.xml" ContentType="application/vnd.openxmlformats-officedocument.theme+xml"/>
  <Override PartName="/ppt/slideLayouts/slideLayout54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7" r:id="rId5"/>
    <p:sldMasterId id="2147483688" r:id="rId6"/>
    <p:sldMasterId id="2147483745" r:id="rId7"/>
    <p:sldMasterId id="2147483648" r:id="rId8"/>
  </p:sldMasterIdLst>
  <p:notesMasterIdLst>
    <p:notesMasterId r:id="rId12"/>
  </p:notesMasterIdLst>
  <p:sldIdLst>
    <p:sldId id="2147481353" r:id="rId9"/>
    <p:sldId id="2147481352" r:id="rId10"/>
    <p:sldId id="2147481340" r:id="rId11"/>
  </p:sldIdLst>
  <p:sldSz cx="12192000" cy="6858000"/>
  <p:notesSz cx="6858000" cy="9144000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92F72"/>
    <a:srgbClr val="E38425"/>
    <a:srgbClr val="FF7800"/>
    <a:srgbClr val="000000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660B408-B3CF-4A94-85FC-2B1E0A45F4A2}" styleName="濃色スタイル 2 - アクセント 1/アクセント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>
      <p:cViewPr varScale="1">
        <p:scale>
          <a:sx n="62" d="100"/>
          <a:sy n="62" d="100"/>
        </p:scale>
        <p:origin x="828" y="2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slide" Target="slides/slide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70BDB7-7CDC-4BAC-87F9-4BEF97854AFB}" type="datetimeFigureOut">
              <a:rPr kumimoji="1" lang="ja-JP" altLang="en-US" smtClean="0"/>
              <a:t>2025/9/1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6CF7A6-79FD-499C-B58F-EA162622B51E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925444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67CB869-86C7-4B5D-B21D-C7104400ECFC}"/>
              </a:ext>
            </a:extLst>
          </p:cNvPr>
          <p:cNvSpPr/>
          <p:nvPr userDrawn="1"/>
        </p:nvSpPr>
        <p:spPr bwMode="black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5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7101C55-360F-4A30-88C9-2A386C411E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5282245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5527522"/>
            <a:ext cx="3102015" cy="784378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0772B66-01D8-4BE7-AE8E-C64CA1CF26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1429154"/>
            <a:ext cx="5152292" cy="225571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C9F1450-A172-44DF-9DE8-E648764972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71190"/>
            <a:ext cx="5152292" cy="1092846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lnSpc>
                <a:spcPct val="90000"/>
              </a:lnSpc>
              <a:buNone/>
              <a:defRPr lang="en-US" sz="2400" b="0" i="0" kern="1200" spc="0" dirty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Palatino Linotype" panose="00000500000000000000" pitchFamily="50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/>
              <a:t>Place subtitle here in Palatino Linotype 24pt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01D1C16-1E67-46BA-A7F0-31738E52069F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597026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67CB869-86C7-4B5D-B21D-C7104400ECFC}"/>
              </a:ext>
            </a:extLst>
          </p:cNvPr>
          <p:cNvSpPr/>
          <p:nvPr userDrawn="1"/>
        </p:nvSpPr>
        <p:spPr bwMode="black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5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7101C55-360F-4A30-88C9-2A386C411E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5282245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5527522"/>
            <a:ext cx="3102015" cy="784378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0772B66-01D8-4BE7-AE8E-C64CA1CF26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1429154"/>
            <a:ext cx="5152292" cy="225571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C9F1450-A172-44DF-9DE8-E648764972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71190"/>
            <a:ext cx="5152292" cy="1092846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lnSpc>
                <a:spcPct val="90000"/>
              </a:lnSpc>
              <a:buNone/>
              <a:defRPr lang="en-US" sz="2400" b="0" i="0" kern="1200" spc="0" dirty="0">
                <a:solidFill>
                  <a:schemeClr val="tx1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 Rg" panose="00000500000000000000" pitchFamily="50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01D1C16-1E67-46BA-A7F0-31738E52069F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6031342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A764EB37-3299-4AEF-9398-9D9C84AB73F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15" name="Date Placeholder 10">
            <a:extLst>
              <a:ext uri="{FF2B5EF4-FFF2-40B4-BE49-F238E27FC236}">
                <a16:creationId xmlns:a16="http://schemas.microsoft.com/office/drawing/2014/main" id="{C1D8BA10-E028-4E4B-A19C-12B864B010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09D55F2-CAE5-4C0F-8D54-A28CECDB93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3AA97401-81EE-4280-A94C-955E96B0059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 Rg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DDC0C86-80A9-481C-A2D5-6F509B89192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8" name="GTS_WH" descr="Accenture Greater Than symbol in white">
            <a:extLst>
              <a:ext uri="{FF2B5EF4-FFF2-40B4-BE49-F238E27FC236}">
                <a16:creationId xmlns:a16="http://schemas.microsoft.com/office/drawing/2014/main" id="{C703F910-26EC-4B07-B522-B28DEB82C3EA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5779386" y="5382386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1518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05">
          <p15:clr>
            <a:srgbClr val="C35EA4"/>
          </p15:clr>
        </p15:guide>
        <p15:guide id="2" pos="3840">
          <p15:clr>
            <a:srgbClr val="C35E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E55EA4F-E473-41EF-9E00-3D69D5F1AE6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6" name="Date Placeholder 10">
            <a:extLst>
              <a:ext uri="{FF2B5EF4-FFF2-40B4-BE49-F238E27FC236}">
                <a16:creationId xmlns:a16="http://schemas.microsoft.com/office/drawing/2014/main" id="{0AF5D71E-5FA3-4080-B28F-B3110AB34D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51481AAC-1471-4278-A104-D559B82B52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BEB3B30-172A-47BC-8F00-43F601E1F8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 Rg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0481612-058D-4A52-B93E-53E75F305C81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8" name="Logo_WH" descr="Accenture logo in white">
            <a:extLst>
              <a:ext uri="{FF2B5EF4-FFF2-40B4-BE49-F238E27FC236}">
                <a16:creationId xmlns:a16="http://schemas.microsoft.com/office/drawing/2014/main" id="{C6212C50-BB96-4C0C-BC89-2B3C8082149D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154167" y="5374201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5A65B91D-87CB-4DC8-B4B1-CE82A8E5C6F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E102C68A-98DA-4EBB-AAFF-D0C6E56ADE1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02210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96">
          <p15:clr>
            <a:srgbClr val="C35EA4"/>
          </p15:clr>
        </p15:guide>
        <p15:guide id="2" pos="3840">
          <p15:clr>
            <a:srgbClr val="C35E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4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rgbClr val="E6DCFF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EDFBD97-7A23-4453-9DFC-F825350AF9B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8" name="Logo_WH" descr="Accenture logo in white">
            <a:extLst>
              <a:ext uri="{FF2B5EF4-FFF2-40B4-BE49-F238E27FC236}">
                <a16:creationId xmlns:a16="http://schemas.microsoft.com/office/drawing/2014/main" id="{1A7501AC-E717-4CB3-89D9-DEE7B06E1876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9153213" y="5815652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E84F1646-52FE-4716-AED1-FE252A8E05E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5FBA828-A6EE-4CDC-A2F1-52C5DC0E3C3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273213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5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0449E654-6B6A-44E6-852C-967C3EDDCA2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white"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9" name="GTS_WH" descr="Accenture Greater Than symbol in white">
            <a:extLst>
              <a:ext uri="{FF2B5EF4-FFF2-40B4-BE49-F238E27FC236}">
                <a16:creationId xmlns:a16="http://schemas.microsoft.com/office/drawing/2014/main" id="{08C622A3-6AC3-418E-A8AE-75B117754CFC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381001" y="5607811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42043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6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12688DA9-25EC-4AC3-AD0E-0CC139E1167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7142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279EB0A-2DCA-4410-A834-F9A425FF9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464481-354D-44BF-B8B2-E0AFA2830FD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9" name="Logo_WH" descr="Accenture logo in white">
            <a:extLst>
              <a:ext uri="{FF2B5EF4-FFF2-40B4-BE49-F238E27FC236}">
                <a16:creationId xmlns:a16="http://schemas.microsoft.com/office/drawing/2014/main" id="{BA79480B-BE6F-49EC-829D-D8AF858ABFD8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381001" y="5815652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80D6DAB6-FE72-4647-9B94-83468BA6B4A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6961114-35B1-4F8E-96CC-0CA3D18133F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6865505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7 Acquisition+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84A5767-82AC-46A2-88DD-C31D51E1CB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3" name="Picture Placeholder 11" descr="Image placeholder for client logo">
            <a:extLst>
              <a:ext uri="{FF2B5EF4-FFF2-40B4-BE49-F238E27FC236}">
                <a16:creationId xmlns:a16="http://schemas.microsoft.com/office/drawing/2014/main" id="{9B6BF12D-A981-4F4E-B8F1-FF12DC840F2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81001" y="5326815"/>
            <a:ext cx="1884233" cy="985085"/>
          </a:xfrm>
        </p:spPr>
        <p:txBody>
          <a:bodyPr anchor="ctr"/>
          <a:lstStyle>
            <a:lvl1pPr algn="ctr">
              <a:buFont typeface="Graphik" panose="020B0604020202020204" pitchFamily="34" charset="0"/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659D61A8-47A5-47C2-A85A-BCCCBE83C91F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1001" y="381001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72915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B818ECE-32D7-4F71-A6CA-1144DA38ED6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grpSp>
        <p:nvGrpSpPr>
          <p:cNvPr id="8" name="Logo_BL" descr="Accenture logo in black and purple">
            <a:extLst>
              <a:ext uri="{FF2B5EF4-FFF2-40B4-BE49-F238E27FC236}">
                <a16:creationId xmlns:a16="http://schemas.microsoft.com/office/drawing/2014/main" id="{35D3F8C8-B2E5-431B-9639-9F0553086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47183" y="5815542"/>
            <a:ext cx="1883664" cy="496357"/>
            <a:chOff x="2387" y="1701"/>
            <a:chExt cx="4535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9AD7BAC9-11D9-4846-95CD-5C2B827147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CAEDE4E-DAF3-4FBC-BAEB-E0C26C20EB9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837680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2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0449E654-6B6A-44E6-852C-967C3EDDCA2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white"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pic>
        <p:nvPicPr>
          <p:cNvPr id="10" name="Graphic 9" descr="Accenture Greater Than symbol in purple">
            <a:extLst>
              <a:ext uri="{FF2B5EF4-FFF2-40B4-BE49-F238E27FC236}">
                <a16:creationId xmlns:a16="http://schemas.microsoft.com/office/drawing/2014/main" id="{299A6723-3F53-4981-840E-D1D62874F6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2636" y="5607811"/>
            <a:ext cx="641502" cy="704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34095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3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38B557E5-FD3E-49D7-8F2D-F2CFBA8CA1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384048"/>
            <a:ext cx="5715000" cy="2478024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434840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197142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grpSp>
        <p:nvGrpSpPr>
          <p:cNvPr id="10" name="Logo_BL" descr="Accenture logo in black and purple">
            <a:extLst>
              <a:ext uri="{FF2B5EF4-FFF2-40B4-BE49-F238E27FC236}">
                <a16:creationId xmlns:a16="http://schemas.microsoft.com/office/drawing/2014/main" id="{854C139D-5D17-4D1A-87BD-07B345E2E51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81001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6073E091-2A74-4D4D-8C42-D39E8FD65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DB984E3-DACF-4D7C-B5E4-08F21BF138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812778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8546ADE-103C-4652-A344-9C0C8C49E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7E258A-0B44-43BE-A3B3-ECE0D5D55A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851A548-5D5A-420A-BF48-ADAACADF160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39205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4 Acquisi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631B51-29F3-4C51-AE6C-41E7796F9933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2" name="Picture Placeholder 11" descr="Image placeholder for client logo">
            <a:extLst>
              <a:ext uri="{FF2B5EF4-FFF2-40B4-BE49-F238E27FC236}">
                <a16:creationId xmlns:a16="http://schemas.microsoft.com/office/drawing/2014/main" id="{75547ED6-CAEB-47AC-A74D-49C552BD6F6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58417" y="771526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  <p:grpSp>
        <p:nvGrpSpPr>
          <p:cNvPr id="9" name="Logo_BL" descr="Accenture logo in black and purple">
            <a:extLst>
              <a:ext uri="{FF2B5EF4-FFF2-40B4-BE49-F238E27FC236}">
                <a16:creationId xmlns:a16="http://schemas.microsoft.com/office/drawing/2014/main" id="{1C5BF709-3623-4620-9FF0-B8F8076A8BE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47183" y="5815542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C7B64CB8-485B-4A84-AF6D-C9EF295514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74AE1E9A-205A-4C25-A6CD-8452DDD299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6223977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5 Acquisi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733891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4734391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4979668"/>
            <a:ext cx="4114799" cy="548640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631B51-29F3-4C51-AE6C-41E7796F9933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2" name="Picture Placeholder 11" descr="Image placeholder for client logo">
            <a:extLst>
              <a:ext uri="{FF2B5EF4-FFF2-40B4-BE49-F238E27FC236}">
                <a16:creationId xmlns:a16="http://schemas.microsoft.com/office/drawing/2014/main" id="{75547ED6-CAEB-47AC-A74D-49C552BD6F6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58417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  <p:grpSp>
        <p:nvGrpSpPr>
          <p:cNvPr id="9" name="Logo_BL" descr="Accenture logo in black and purple">
            <a:extLst>
              <a:ext uri="{FF2B5EF4-FFF2-40B4-BE49-F238E27FC236}">
                <a16:creationId xmlns:a16="http://schemas.microsoft.com/office/drawing/2014/main" id="{8D3E8DD1-C700-46AC-AA94-9072B0F3175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49093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99A1684-BC33-4579-B840-616EB6D11E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A5AD5E73-6E1C-44F8-9F73-9F3D4F6DF76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294735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6 Acquisition+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38B557E5-FD3E-49D7-8F2D-F2CFBA8CA1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384048"/>
            <a:ext cx="5715000" cy="2478024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434840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206240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Picture Placeholder 11" descr="Image placeholder for client logo">
            <a:extLst>
              <a:ext uri="{FF2B5EF4-FFF2-40B4-BE49-F238E27FC236}">
                <a16:creationId xmlns:a16="http://schemas.microsoft.com/office/drawing/2014/main" id="{FFB79963-9269-41F8-B968-34FCB68C87F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926766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  <p:grpSp>
        <p:nvGrpSpPr>
          <p:cNvPr id="10" name="Logo_BL" descr="Accenture logo in black and purple">
            <a:extLst>
              <a:ext uri="{FF2B5EF4-FFF2-40B4-BE49-F238E27FC236}">
                <a16:creationId xmlns:a16="http://schemas.microsoft.com/office/drawing/2014/main" id="{854C139D-5D17-4D1A-87BD-07B345E2E51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81001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6073E091-2A74-4D4D-8C42-D39E8FD65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DB984E3-DACF-4D7C-B5E4-08F21BF138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9557555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7 Acquisition+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715308A-2B7A-4485-A51C-F3F23FC4264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pic>
        <p:nvPicPr>
          <p:cNvPr id="5" name="Graphic 4" descr="Accenture Greater Than symbol in purple">
            <a:extLst>
              <a:ext uri="{FF2B5EF4-FFF2-40B4-BE49-F238E27FC236}">
                <a16:creationId xmlns:a16="http://schemas.microsoft.com/office/drawing/2014/main" id="{8DD1DFCC-5489-470C-84F4-93032F0960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2636" y="382725"/>
            <a:ext cx="641502" cy="704088"/>
          </a:xfrm>
          <a:prstGeom prst="rect">
            <a:avLst/>
          </a:prstGeom>
        </p:spPr>
      </p:pic>
      <p:sp>
        <p:nvSpPr>
          <p:cNvPr id="13" name="Picture Placeholder 11" descr="Image placeholder for client logo">
            <a:extLst>
              <a:ext uri="{FF2B5EF4-FFF2-40B4-BE49-F238E27FC236}">
                <a16:creationId xmlns:a16="http://schemas.microsoft.com/office/drawing/2014/main" id="{05B9195C-3F7A-4A18-80FA-FB81E2ECDE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81001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710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ccenture Gradient Dark">
            <a:extLst>
              <a:ext uri="{FF2B5EF4-FFF2-40B4-BE49-F238E27FC236}">
                <a16:creationId xmlns:a16="http://schemas.microsoft.com/office/drawing/2014/main" id="{86F62995-A1F7-47A0-AD35-CBADA97239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8"/>
          <a:stretch/>
        </p:blipFill>
        <p:spPr bwMode="invGray"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961CA96-71E3-F941-B41E-52928AB911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47421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/>
              <a:t>Place subtitle here in GT </a:t>
            </a:r>
            <a:r>
              <a:rPr lang="en-GB" err="1"/>
              <a:t>Sectra</a:t>
            </a:r>
            <a:r>
              <a:rPr lang="en-GB"/>
              <a:t>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4B2379EA-B598-42DD-B03E-5C4FC1D468F3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B0387B-1E9C-4EB7-9BA3-83AB796E35C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</p:spPr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0BB825C-3912-400B-A9ED-F17A355964B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50049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Co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ccenture Gradient Mid&#10;">
            <a:extLst>
              <a:ext uri="{FF2B5EF4-FFF2-40B4-BE49-F238E27FC236}">
                <a16:creationId xmlns:a16="http://schemas.microsoft.com/office/drawing/2014/main" id="{D34847E9-71CB-4177-8BB3-C4EDB8A3E2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D88312-3597-964E-9B24-8371E2C856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701801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EC3F0890-0DED-4AD1-9A02-BD56F8554B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4" name="GTS_WH" descr="Accenture Greater Than symbol in white">
            <a:extLst>
              <a:ext uri="{FF2B5EF4-FFF2-40B4-BE49-F238E27FC236}">
                <a16:creationId xmlns:a16="http://schemas.microsoft.com/office/drawing/2014/main" id="{3FC0722F-C643-4988-96E8-F00519CB3A00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969A96-ECEE-46C8-AC65-A99027BA920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40308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Numbered, Gradient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ccenture Gradient Mid">
            <a:extLst>
              <a:ext uri="{FF2B5EF4-FFF2-40B4-BE49-F238E27FC236}">
                <a16:creationId xmlns:a16="http://schemas.microsoft.com/office/drawing/2014/main" id="{CB16898D-3DD4-439C-B43F-558C1FDD36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 userDrawn="1"/>
        </p:nvSpPr>
        <p:spPr bwMode="white">
          <a:xfrm>
            <a:off x="0" y="3428999"/>
            <a:ext cx="12192000" cy="3429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422072"/>
          </a:xfrm>
        </p:spPr>
        <p:txBody>
          <a:bodyPr anchor="t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noFill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#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7"/>
            <a:ext cx="2993573" cy="2422071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C230B8D6-1525-4D29-A117-F22A9C16F0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6" name="GTS_WH" descr="Accenture Greater Than symbol in white">
            <a:extLst>
              <a:ext uri="{FF2B5EF4-FFF2-40B4-BE49-F238E27FC236}">
                <a16:creationId xmlns:a16="http://schemas.microsoft.com/office/drawing/2014/main" id="{C5173724-68B6-47CD-B850-71B1407EEAA1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04ADF7-CE17-4A46-8A63-A366F9BB14A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24925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69933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0" indent="0">
              <a:buNone/>
              <a:defRPr sz="1800"/>
            </a:lvl2pPr>
            <a:lvl3pPr marL="228600">
              <a:buFont typeface="Graphik" panose="020B0604020202020204" pitchFamily="34" charset="0"/>
              <a:buChar char="•"/>
              <a:defRPr sz="1800"/>
            </a:lvl3pPr>
            <a:lvl4pPr marL="457200">
              <a:buFont typeface="System Font"/>
              <a:buChar char="–"/>
              <a:defRPr sz="1600"/>
            </a:lvl4pPr>
            <a:lvl5pPr marL="685800">
              <a:buFont typeface="Graphik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Place agenda summary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1" cy="810399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Agenda title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1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1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1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1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1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1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1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1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6242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6242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26242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6242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26242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26242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426242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26242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/>
          <p:nvPr userDrawn="1"/>
        </p:nvCxnSpPr>
        <p:spPr>
          <a:xfrm>
            <a:off x="4045241" y="1371600"/>
            <a:ext cx="0" cy="471948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317230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17230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17230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317230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317230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317230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17230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17230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C1BE3C-F523-44EE-B6D4-7175CE08E157}"/>
              </a:ext>
            </a:extLst>
          </p:cNvPr>
          <p:cNvSpPr>
            <a:spLocks noGrp="1"/>
          </p:cNvSpPr>
          <p:nvPr>
            <p:ph type="ftr" sz="quarter" idx="56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</p:spPr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796CD18-ADDA-4A64-BDD0-F5A8D01FDD49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46738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C6DB689C-7DB3-4046-A1BF-E63F8EF784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87C97B1E-CB9E-4CBC-A6F1-1D4F2E4ECB3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0"/>
            <a:ext cx="11430000" cy="4940300"/>
          </a:xfrm>
        </p:spPr>
        <p:txBody>
          <a:bodyPr/>
          <a:lstStyle>
            <a:lvl1pPr marL="228600" indent="-228600">
              <a:buFont typeface="Graphik" panose="020B0604020202020204" pitchFamily="34" charset="0"/>
              <a:buChar char="•"/>
              <a:defRPr/>
            </a:lvl1pPr>
            <a:lvl2pPr marL="457200">
              <a:defRPr/>
            </a:lvl2pPr>
            <a:lvl3pPr marL="685800">
              <a:defRPr/>
            </a:lvl3pPr>
            <a:lvl4pPr marL="914400">
              <a:defRPr/>
            </a:lvl4pPr>
            <a:lvl5pPr marL="1143000">
              <a:defRPr/>
            </a:lvl5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4E1CDE7-C850-4F14-8D26-8BD1EE3D6D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BEF25E-6F09-4B47-806E-462D7622D1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67245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Headline and 1 Column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6D4EA4B-84F0-4EB3-B6B4-6EAB903D2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6DFCE48E-1DF3-48D6-BD43-BA3B9CE95A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40300"/>
          </a:xfrm>
        </p:spPr>
        <p:txBody>
          <a:bodyPr/>
          <a:lstStyle/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3646097A-7916-4EBE-A526-09FCBD84F6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5EFDEB3F-4743-43EA-A121-ED3CB6054C7F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AE8CB08-3B2A-44E5-8975-B69F3969CD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56270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772243C5-2205-BC99-FE6A-221E37309F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9BCEA705-879E-CA20-968A-F36EE09113E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A96B9352-D01C-541E-5C5A-6887AE6B80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FE3D2EDB-A28A-AD76-6129-7EDDDFC1A4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A33BFDE8-364F-BCEA-BFDF-8B71F1F7A9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5645C57B-2C9A-4610-B68C-2DFF1965934F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5103137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949194"/>
            <a:ext cx="11430000" cy="4362706"/>
          </a:xfrm>
        </p:spPr>
        <p:txBody>
          <a:bodyPr/>
          <a:lstStyle/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6E1154F-E5DD-468F-85D1-17FC4F4386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699EEA-1839-42AE-A096-1905CABA2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50013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1">
          <p15:clr>
            <a:srgbClr val="547EB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2 - Headline + GT Sect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004457"/>
            <a:ext cx="5524500" cy="2865991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/>
            </a:lvl2pPr>
            <a:lvl3pPr marL="457200">
              <a:buFont typeface="Graphik" panose="020B0503030202060203" pitchFamily="34" charset="0"/>
              <a:buChar char="–"/>
              <a:defRPr sz="1800"/>
            </a:lvl3pPr>
            <a:lvl4pPr marL="685800">
              <a:buFont typeface="Graphik" panose="020B0604020202020204" pitchFamily="34" charset="0"/>
              <a:buChar char="•"/>
              <a:defRPr sz="1600"/>
            </a:lvl4pPr>
            <a:lvl5pPr marL="914400">
              <a:buFont typeface="Graphik" panose="020B0503030202060203" pitchFamily="34" charset="0"/>
              <a:buChar char="–"/>
              <a:defRPr sz="1600"/>
            </a:lvl5pPr>
          </a:lstStyle>
          <a:p>
            <a:pPr lvl="0"/>
            <a:r>
              <a:rPr lang="en-US"/>
              <a:t>Place sub-headline here in GT Sectra Fine </a:t>
            </a:r>
            <a:r>
              <a:rPr lang="en-US" err="1"/>
              <a:t>Rg</a:t>
            </a:r>
            <a:r>
              <a:rPr lang="en-US"/>
              <a:t>, indent for other levels 24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bullet 18pt</a:t>
            </a:r>
          </a:p>
          <a:p>
            <a:pPr lvl="3"/>
            <a:r>
              <a:rPr lang="en-US"/>
              <a:t>Fourth level bullet 16pt</a:t>
            </a:r>
          </a:p>
          <a:p>
            <a:pPr lvl="4"/>
            <a:r>
              <a:rPr lang="en-US"/>
              <a:t>Fifth level bullet 16pt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CC1513EB-EC9B-9B42-BA12-BC659505A76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86499" y="1371601"/>
            <a:ext cx="5524500" cy="450242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Place text here 20pt</a:t>
            </a:r>
          </a:p>
          <a:p>
            <a:pPr lvl="1"/>
            <a:r>
              <a:rPr lang="en-US"/>
              <a:t>Second level 20pt</a:t>
            </a:r>
          </a:p>
          <a:p>
            <a:pPr lvl="2"/>
            <a:r>
              <a:rPr lang="en-US"/>
              <a:t>Third level 20pt</a:t>
            </a:r>
          </a:p>
          <a:p>
            <a:pPr lvl="3"/>
            <a:r>
              <a:rPr lang="en-US"/>
              <a:t>Fourth level 18pt</a:t>
            </a:r>
          </a:p>
          <a:p>
            <a:pPr lvl="4"/>
            <a:r>
              <a:rPr lang="en-US"/>
              <a:t>Fifth level 18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371601"/>
            <a:ext cx="5524499" cy="1632856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A51E00B-3AD2-4131-A1AF-2681835517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5BAA4F-3169-4083-866F-71669DE395C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61317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20">
          <p15:clr>
            <a:srgbClr val="C35E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87552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1371600"/>
            <a:ext cx="5524499" cy="493776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1371600"/>
            <a:ext cx="5524499" cy="493776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BB8772-B000-40EC-8AE7-3AA41499E64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10425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8830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363034-F9EC-4A95-91E0-2E801974931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8187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2 Headings/Co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8830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949194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DE1E44A-D007-46D2-9E20-283025607FF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86499" y="1949194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2772154"/>
            <a:ext cx="5524499" cy="3101872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2772154"/>
            <a:ext cx="5524499" cy="3101872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A5F1A8-92F0-48CE-B27D-E2B7EE762F1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1465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8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3837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2BA4C27-1C65-4465-A8B1-ACE92701B4D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18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DB26F5FE-8482-4C00-99C1-3FC3BEEE82C8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4318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</a:pPr>
            <a:r>
              <a:rPr lang="en-US"/>
              <a:t>Sixth level 12p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318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255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BA38EFA-DE92-462D-AAF3-DE465A478568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8255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</a:pPr>
            <a:r>
              <a:rPr lang="en-US"/>
              <a:t>Sixth level 12p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255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974BDB1-DA1D-43EC-81BC-66135DB7B8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FE860E3B-7BAE-4917-8F29-26AFBD0E72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B7D7C41-6360-43FF-A192-982014655EF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0750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2571749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2571749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33337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3337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28650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28650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973701C-90E3-449B-A44A-0C66B0945601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2392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6CB018D-34A3-4417-AE76-9BB3793F033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2392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3BDC2B1A-D3A0-C04B-AEDB-0389C637EF1A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381000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40F6CE73-9C88-264F-A7F2-A3D2B2D1938B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3333751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5F289FE6-F2A2-784D-9D31-047C10F04CD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6286500" y="3145138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A079B5C1-1D0F-8F40-A376-4AE3B49D1B5A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239251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83000718-AD47-4F1E-8F71-56356C9406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01BF3E00-F066-4583-A5B1-87DD196667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3837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5650FA89-A64B-4802-B6DF-D1844A84300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D5B1DD8-C71C-4D65-A58A-0A9A86DCED8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0079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8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5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798829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BD757F29-5B8C-430C-B53D-FA44B1887B4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377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C854DFB-B17D-45CF-98C3-3882DBE2C3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898899"/>
            <a:ext cx="1985504" cy="1971541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C5D125FD-0D25-4E65-82F5-4E18FE84E4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3943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5B124AA5-6419-4552-97B5-242DA08BE7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0145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A378CD97-B880-4BCB-AD71-A7C1C1C848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6347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2CB6C29-05E0-4B43-A2EB-22FEB969E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25496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13EDE11-CE40-4943-AE63-A3B14CB3C037}"/>
              </a:ext>
            </a:extLst>
          </p:cNvPr>
          <p:cNvCxnSpPr>
            <a:cxnSpLocks/>
          </p:cNvCxnSpPr>
          <p:nvPr userDrawn="1"/>
        </p:nvCxnSpPr>
        <p:spPr>
          <a:xfrm>
            <a:off x="114156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7ED40C-58DA-45F1-8E80-6A74976C6E1E}"/>
              </a:ext>
            </a:extLst>
          </p:cNvPr>
          <p:cNvCxnSpPr/>
          <p:nvPr userDrawn="1"/>
        </p:nvCxnSpPr>
        <p:spPr>
          <a:xfrm>
            <a:off x="350358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91A22B2-C08A-41DA-ACB1-5B59B4CDA8DE}"/>
              </a:ext>
            </a:extLst>
          </p:cNvPr>
          <p:cNvCxnSpPr/>
          <p:nvPr userDrawn="1"/>
        </p:nvCxnSpPr>
        <p:spPr>
          <a:xfrm>
            <a:off x="586560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7D3E374-86AB-4A80-81AD-B09F07C51B80}"/>
              </a:ext>
            </a:extLst>
          </p:cNvPr>
          <p:cNvCxnSpPr/>
          <p:nvPr userDrawn="1"/>
        </p:nvCxnSpPr>
        <p:spPr>
          <a:xfrm>
            <a:off x="822762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3A5244A-D0CA-43CB-A0DB-296A219EDC9D}"/>
              </a:ext>
            </a:extLst>
          </p:cNvPr>
          <p:cNvCxnSpPr>
            <a:cxnSpLocks/>
          </p:cNvCxnSpPr>
          <p:nvPr userDrawn="1"/>
        </p:nvCxnSpPr>
        <p:spPr>
          <a:xfrm>
            <a:off x="10589648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EABD27E6-4547-45B3-9AC5-1EF508AE88E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07579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31C34651-25FA-45DD-86DF-BB58EBE9AA8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3781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B32375EE-E449-4B59-B987-5D6EBFBDF3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79983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EE1692D5-4CE6-4990-8769-B146983B947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161852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33" name="Footer Placeholder 3">
            <a:extLst>
              <a:ext uri="{FF2B5EF4-FFF2-40B4-BE49-F238E27FC236}">
                <a16:creationId xmlns:a16="http://schemas.microsoft.com/office/drawing/2014/main" id="{57676F53-2AF5-4F44-9119-3C3347D1DA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8D97977-AAE6-4533-93CA-ADE704E9F4A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D3E087-C0E5-4045-83EC-D0F38053E0B8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95562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4-Box Sha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154655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Font typeface="Graphik" panose="020B0604020202020204" pitchFamily="34" charset="0"/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25DB0B2A-9775-46B0-9A40-F75EBFA4B45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817351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3F6B5F-EAE7-44DA-BD77-6D66865CEB9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480047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AD8EF41C-E978-4139-80A4-73605C41EA35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142743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54653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solidFill>
                  <a:schemeClr val="accent2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 21pt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7350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 21pt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80047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 21pt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42742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 21pt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9310CF55-0D9B-41F8-8D1E-8BA74BC232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4481D5-3713-4165-990F-CD2E7B955A03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52908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6-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lIns="91440" tIns="0"/>
          <a:lstStyle>
            <a:lvl1pPr marL="0" indent="0">
              <a:buNone/>
              <a:defRPr sz="1800" b="0"/>
            </a:lvl1pPr>
          </a:lstStyle>
          <a:p>
            <a:r>
              <a:rPr lang="en-GB"/>
              <a:t>Add profile photo</a:t>
            </a:r>
            <a:endParaRPr lang="en-US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4389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BD665DCA-734C-4077-92CB-D7A9FCD67D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3D474A-8A06-4078-BEBB-EBDCDD30231B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9FEF6117-B6D9-4841-8EFA-DF78BCFA9C0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77415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90B0A6BB-BC70-4436-B334-35CF914D177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356104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EA23CA56-3568-4982-84E5-176DE32541C2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331208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7E019EA7-B58E-4B17-A663-2E8CCD701589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06312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9A57066F-5BF5-43F7-A9DA-1788B5511DA7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281416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45" name="Picture Placeholder 4">
            <a:extLst>
              <a:ext uri="{FF2B5EF4-FFF2-40B4-BE49-F238E27FC236}">
                <a16:creationId xmlns:a16="http://schemas.microsoft.com/office/drawing/2014/main" id="{EA5F90EC-FB85-4041-85C1-409768D3A0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256520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8721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m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C2096B10-74C7-582A-7A30-FCCC02D5A2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469900"/>
            <a:ext cx="11430000" cy="419100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8" name="テキスト プレースホルダー 7">
            <a:extLst>
              <a:ext uri="{FF2B5EF4-FFF2-40B4-BE49-F238E27FC236}">
                <a16:creationId xmlns:a16="http://schemas.microsoft.com/office/drawing/2014/main" id="{9B997706-24F4-EEDE-50D4-B90B56BA8FB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952501"/>
            <a:ext cx="11430000" cy="762000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252526976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Headline-Team 6-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lIns="91440"/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en-GB"/>
              <a:t>Add profile photo</a:t>
            </a:r>
            <a:endParaRPr lang="en-US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43892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5196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5196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6DA3268F-5CC4-7E4D-879D-3A3F1FBF6B5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519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855592D2-902A-1146-B433-6648BEC8784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4389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F748F9AD-5F56-42EC-9922-780EBA4436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2" name="GTS_WH" descr="Accenture Greater Than symbol in white">
            <a:extLst>
              <a:ext uri="{FF2B5EF4-FFF2-40B4-BE49-F238E27FC236}">
                <a16:creationId xmlns:a16="http://schemas.microsoft.com/office/drawing/2014/main" id="{B49891DC-D80E-4D1B-961E-1B567E0E453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E8FB076-B311-496F-8C11-2C54B06FBB3D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199DF3DD-2E34-4D79-8E11-12CE813E73F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81000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5" name="Picture Placeholder 4">
            <a:extLst>
              <a:ext uri="{FF2B5EF4-FFF2-40B4-BE49-F238E27FC236}">
                <a16:creationId xmlns:a16="http://schemas.microsoft.com/office/drawing/2014/main" id="{6FCD1A94-A214-4264-842C-B5DA710C1F3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356104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95C1CB4-E517-4380-8170-E8C0CA787FBA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331208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6AFBE91E-BB56-4FAF-ADEB-859CA86F829F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06312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15D78B8A-7ECF-44EE-A95F-FBD072A68894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281416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F2F64C30-F694-4DC6-AAED-5ECA99ECCF5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256520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33949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8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6371931-42F0-694A-9918-74F3672574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1000" y="1295233"/>
            <a:ext cx="3540355" cy="501666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/>
              <a:t>Place text here, use indent to access other levels 20pt</a:t>
            </a:r>
          </a:p>
          <a:p>
            <a:pPr lvl="1"/>
            <a:r>
              <a:rPr lang="en-GB"/>
              <a:t>Second level 20pt</a:t>
            </a:r>
          </a:p>
          <a:p>
            <a:pPr lvl="2"/>
            <a:r>
              <a:rPr lang="en-GB"/>
              <a:t>Third level 20pt</a:t>
            </a:r>
          </a:p>
          <a:p>
            <a:pPr lvl="3"/>
            <a:r>
              <a:rPr lang="en-GB"/>
              <a:t>Fourth level 18pt</a:t>
            </a:r>
          </a:p>
          <a:p>
            <a:pPr lvl="4"/>
            <a:r>
              <a:rPr lang="en-GB"/>
              <a:t>Fifth level 18pt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5" name="Picture Placeholder 13">
            <a:extLst>
              <a:ext uri="{FF2B5EF4-FFF2-40B4-BE49-F238E27FC236}">
                <a16:creationId xmlns:a16="http://schemas.microsoft.com/office/drawing/2014/main" id="{CD7EAAF9-7102-4351-9F35-C40B3F3819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5820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CC40CB3D-DFEA-4056-B2DA-887E7C86324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98231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BABECB-6F2D-4068-AEE6-A603DAA72EF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43053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914A31DD-59CB-48C9-9C28-954E6B85C62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0642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224BCF40-5B7A-4471-B077-3EEE956ADC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5822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58" name="Text Placeholder 21">
            <a:extLst>
              <a:ext uri="{FF2B5EF4-FFF2-40B4-BE49-F238E27FC236}">
                <a16:creationId xmlns:a16="http://schemas.microsoft.com/office/drawing/2014/main" id="{68E899C2-D12C-4214-88A5-B7A6E1BCDC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98233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59" name="Text Placeholder 21">
            <a:extLst>
              <a:ext uri="{FF2B5EF4-FFF2-40B4-BE49-F238E27FC236}">
                <a16:creationId xmlns:a16="http://schemas.microsoft.com/office/drawing/2014/main" id="{66A0D763-27FE-421C-A5D9-19A08FC2D8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70644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78" name="Text Placeholder 21">
            <a:extLst>
              <a:ext uri="{FF2B5EF4-FFF2-40B4-BE49-F238E27FC236}">
                <a16:creationId xmlns:a16="http://schemas.microsoft.com/office/drawing/2014/main" id="{43E52046-A5DE-47E3-A9A3-ADD4F6DB82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43055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BA696AEF-3D6B-2E4A-853E-8A8760E58D09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4325822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33" name="Picture Placeholder 13">
            <a:extLst>
              <a:ext uri="{FF2B5EF4-FFF2-40B4-BE49-F238E27FC236}">
                <a16:creationId xmlns:a16="http://schemas.microsoft.com/office/drawing/2014/main" id="{05B98E7F-7333-A04B-94D4-281325401EF4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298233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34" name="Picture Placeholder 13">
            <a:extLst>
              <a:ext uri="{FF2B5EF4-FFF2-40B4-BE49-F238E27FC236}">
                <a16:creationId xmlns:a16="http://schemas.microsoft.com/office/drawing/2014/main" id="{B99C455B-37CC-4E44-8046-56AF81C1636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243053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35" name="Picture Placeholder 13">
            <a:extLst>
              <a:ext uri="{FF2B5EF4-FFF2-40B4-BE49-F238E27FC236}">
                <a16:creationId xmlns:a16="http://schemas.microsoft.com/office/drawing/2014/main" id="{AAA6B0A5-6A50-1640-8F39-F8AC766655FE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270644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CDFBCAAC-9CA0-5A4E-8684-A49AAB0BA65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325822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0C025F6B-BD75-0A4C-87E1-147D69F7C5B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298233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A9CB5A73-2496-3841-A61A-1965B0A6AD1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270644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886F547A-67CA-C749-B9EA-AA1142C3154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243055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50" name="Footer Placeholder 3">
            <a:extLst>
              <a:ext uri="{FF2B5EF4-FFF2-40B4-BE49-F238E27FC236}">
                <a16:creationId xmlns:a16="http://schemas.microsoft.com/office/drawing/2014/main" id="{A671D4FB-2F86-4AF3-89D0-D61D543789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1014D8-C563-4003-8EBC-A9F6EE68BA63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1559D4A6-A7D1-4EAE-87E5-EB8A4B73E546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325822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564E037C-8888-4DE6-88C4-A629CBF5F3A9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6298233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51" name="Picture Placeholder 4">
            <a:extLst>
              <a:ext uri="{FF2B5EF4-FFF2-40B4-BE49-F238E27FC236}">
                <a16:creationId xmlns:a16="http://schemas.microsoft.com/office/drawing/2014/main" id="{1DD1D133-7281-4297-B58B-4683B9743A55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8270644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52" name="Picture Placeholder 4">
            <a:extLst>
              <a:ext uri="{FF2B5EF4-FFF2-40B4-BE49-F238E27FC236}">
                <a16:creationId xmlns:a16="http://schemas.microsoft.com/office/drawing/2014/main" id="{4D49677A-CABE-49CD-A2EE-9EC21E15DF23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10243055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53" name="Picture Placeholder 4">
            <a:extLst>
              <a:ext uri="{FF2B5EF4-FFF2-40B4-BE49-F238E27FC236}">
                <a16:creationId xmlns:a16="http://schemas.microsoft.com/office/drawing/2014/main" id="{E46B730A-2104-4381-A7F8-6A08201D7F97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4325822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15BD8921-64C2-47AC-9DE2-E4DFFCBF7C64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6298233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61" name="Picture Placeholder 4">
            <a:extLst>
              <a:ext uri="{FF2B5EF4-FFF2-40B4-BE49-F238E27FC236}">
                <a16:creationId xmlns:a16="http://schemas.microsoft.com/office/drawing/2014/main" id="{3EF9A07C-1758-4B3E-A1CD-67412E56BBFE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8270644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62" name="Picture Placeholder 4">
            <a:extLst>
              <a:ext uri="{FF2B5EF4-FFF2-40B4-BE49-F238E27FC236}">
                <a16:creationId xmlns:a16="http://schemas.microsoft.com/office/drawing/2014/main" id="{25D8A2F3-A845-4271-8B71-45408EF9F6C1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10243053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90006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Headline and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AA6D93-92FF-400D-8AF3-C5AC33611540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6096000" y="1"/>
            <a:ext cx="6096000" cy="6857999"/>
          </a:xfrm>
          <a:solidFill>
            <a:schemeClr val="bg1">
              <a:lumMod val="95000"/>
            </a:schemeClr>
          </a:solidFill>
        </p:spPr>
        <p:txBody>
          <a:bodyPr tIns="548640" anchor="t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Graphik" panose="020B0604020202020204" pitchFamily="34" charset="0"/>
              <a:buNone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Drag picture to placeholder or click icon to add, then ‘Send to Back’</a:t>
            </a:r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BB929FF-38D9-4792-A56F-C1810627FF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96067A3-9F0D-44FB-B267-D94DE70856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AF384B1D-1AA1-4DD2-A317-08008594FF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4796047A-AB81-403A-B649-52C6F7827E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0" y="3267634"/>
            <a:ext cx="5330952" cy="3044265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/>
            </a:lvl2pPr>
            <a:lvl3pPr marL="457200">
              <a:buFont typeface="Graphik" panose="020B0503030202060203" pitchFamily="34" charset="0"/>
              <a:buChar char="–"/>
              <a:defRPr sz="1800"/>
            </a:lvl3pPr>
            <a:lvl4pPr marL="685800">
              <a:buFont typeface="Graphik" panose="020B0604020202020204" pitchFamily="34" charset="0"/>
              <a:buChar char="•"/>
              <a:defRPr sz="1600"/>
            </a:lvl4pPr>
            <a:lvl5pPr marL="914400">
              <a:buFont typeface="Graphik" panose="020B0503030202060203" pitchFamily="34" charset="0"/>
              <a:buChar char="–"/>
              <a:defRPr sz="1600"/>
            </a:lvl5pPr>
          </a:lstStyle>
          <a:p>
            <a:pPr lvl="0"/>
            <a:r>
              <a:rPr lang="en-US"/>
              <a:t>Place sub-headline here in GT Sectra Fine </a:t>
            </a:r>
            <a:r>
              <a:rPr lang="en-US" err="1"/>
              <a:t>Rg</a:t>
            </a:r>
            <a:r>
              <a:rPr lang="en-US"/>
              <a:t>, indent for other levels 24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bullet 18pt</a:t>
            </a:r>
          </a:p>
          <a:p>
            <a:pPr lvl="3"/>
            <a:r>
              <a:rPr lang="en-US"/>
              <a:t>Fourth level bullet 16pt</a:t>
            </a:r>
          </a:p>
          <a:p>
            <a:pPr lvl="4"/>
            <a:r>
              <a:rPr lang="en-US"/>
              <a:t>Fifth level bullet 16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6A2778-1AEF-4134-970E-9AB430A5206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7396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Headline and Imag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6096024" cy="6309361"/>
          </a:xfrm>
          <a:solidFill>
            <a:schemeClr val="tx1">
              <a:lumMod val="95000"/>
            </a:schemeClr>
          </a:solidFill>
        </p:spPr>
        <p:txBody>
          <a:bodyPr lIns="0" tIns="210312" anchor="t"/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 bwMode="white">
          <a:xfrm>
            <a:off x="0" y="6309360"/>
            <a:ext cx="12192000" cy="5486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B30F4D9-6AB9-4693-B1C3-C7BE8D81EC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999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E567C369-8A33-4851-8646-E53D6E8D8C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C42B8317-AACA-4DC7-AD68-8986DF6299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47" y="3264586"/>
            <a:ext cx="5330952" cy="3047313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2pPr>
            <a:lvl3pPr marL="457200">
              <a:buFont typeface="Graphik" panose="020B0503030202060203" pitchFamily="34" charset="0"/>
              <a:buChar char="–"/>
              <a:defRPr sz="1800">
                <a:solidFill>
                  <a:schemeClr val="tx1"/>
                </a:solidFill>
              </a:defRPr>
            </a:lvl3pPr>
            <a:lvl4pPr marL="685800">
              <a:buFont typeface="Graphik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914400">
              <a:buFont typeface="Graphik" panose="020B0503030202060203" pitchFamily="34" charset="0"/>
              <a:buChar char="–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Place sub-headline here in GT Sectra Fine </a:t>
            </a:r>
            <a:r>
              <a:rPr lang="en-US" err="1"/>
              <a:t>Rg</a:t>
            </a:r>
            <a:r>
              <a:rPr lang="en-US"/>
              <a:t>, indent for other levels 24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bullet 18pt</a:t>
            </a:r>
          </a:p>
          <a:p>
            <a:pPr lvl="3"/>
            <a:r>
              <a:rPr lang="en-US"/>
              <a:t>Fourth level bullet 16pt</a:t>
            </a:r>
          </a:p>
          <a:p>
            <a:pPr lvl="4"/>
            <a:r>
              <a:rPr lang="en-US"/>
              <a:t>Fifth level bullet 16pt</a:t>
            </a:r>
          </a:p>
        </p:txBody>
      </p:sp>
      <p:sp>
        <p:nvSpPr>
          <p:cNvPr id="12" name="GTS_WH" descr="Accenture Greater Than symbol in white">
            <a:extLst>
              <a:ext uri="{FF2B5EF4-FFF2-40B4-BE49-F238E27FC236}">
                <a16:creationId xmlns:a16="http://schemas.microsoft.com/office/drawing/2014/main" id="{9742AFA2-2F86-4FC9-AB33-FE5A8DC3B4C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CF1D8E5-ED70-409D-A4B1-635A02DFE5A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71189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9">
            <a:extLst>
              <a:ext uri="{FF2B5EF4-FFF2-40B4-BE49-F238E27FC236}">
                <a16:creationId xmlns:a16="http://schemas.microsoft.com/office/drawing/2014/main" id="{9128CE8F-D41A-47B9-921B-C6C1790F8F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26839" y="943234"/>
            <a:ext cx="4191000" cy="49768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858001" y="744434"/>
            <a:ext cx="4190998" cy="4976446"/>
          </a:xfrm>
          <a:solidFill>
            <a:schemeClr val="bg1">
              <a:lumMod val="95000"/>
            </a:schemeClr>
          </a:solidFill>
          <a:effectLst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quote or key message here 54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D868995-C37B-451B-AE1C-89DE71F21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A06E6C-6576-4BA5-948F-BD9FE24FA05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10130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 (alternativ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858001" y="744434"/>
            <a:ext cx="4190998" cy="4976446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quote or key message here 54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D868995-C37B-451B-AE1C-89DE71F21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217B10-543D-46E3-A5E7-CA1C578F6F6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81111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istics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7FF1C6BE-E6FE-4BD6-8477-A09403EEE56E}"/>
              </a:ext>
            </a:extLst>
          </p:cNvPr>
          <p:cNvSpPr/>
          <p:nvPr userDrawn="1"/>
        </p:nvSpPr>
        <p:spPr bwMode="white">
          <a:xfrm>
            <a:off x="-10" y="-3"/>
            <a:ext cx="6096008" cy="63119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2" name="Text Placeholder 32">
            <a:extLst>
              <a:ext uri="{FF2B5EF4-FFF2-40B4-BE49-F238E27FC236}">
                <a16:creationId xmlns:a16="http://schemas.microsoft.com/office/drawing/2014/main" id="{AC315915-FC9E-0942-980E-6C0E99FEA8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0986" y="1490071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5992" y="0"/>
            <a:ext cx="6096008" cy="6311900"/>
          </a:xfrm>
          <a:solidFill>
            <a:schemeClr val="bg1">
              <a:lumMod val="95000"/>
            </a:schemeClr>
          </a:solidFill>
        </p:spPr>
        <p:txBody>
          <a:bodyPr tIns="45720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D7539E0-EC97-4984-8CDD-85CC949BB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49C8D0A-C37D-4D9A-9703-8A0AFB18570C}"/>
              </a:ext>
            </a:extLst>
          </p:cNvPr>
          <p:cNvCxnSpPr>
            <a:cxnSpLocks/>
          </p:cNvCxnSpPr>
          <p:nvPr userDrawn="1"/>
        </p:nvCxnSpPr>
        <p:spPr>
          <a:xfrm>
            <a:off x="0" y="3155950"/>
            <a:ext cx="609600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28992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28992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BE5BBCC-C957-48B6-99B6-EF1F3E80F622}"/>
              </a:ext>
            </a:extLst>
          </p:cNvPr>
          <p:cNvCxnSpPr>
            <a:cxnSpLocks/>
          </p:cNvCxnSpPr>
          <p:nvPr userDrawn="1"/>
        </p:nvCxnSpPr>
        <p:spPr>
          <a:xfrm>
            <a:off x="3047998" y="-2"/>
            <a:ext cx="0" cy="6311902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394EF33C-E010-4503-AC38-BB48E62572E9}"/>
              </a:ext>
            </a:extLst>
          </p:cNvPr>
          <p:cNvSpPr/>
          <p:nvPr userDrawn="1"/>
        </p:nvSpPr>
        <p:spPr bwMode="white"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32">
            <a:extLst>
              <a:ext uri="{FF2B5EF4-FFF2-40B4-BE49-F238E27FC236}">
                <a16:creationId xmlns:a16="http://schemas.microsoft.com/office/drawing/2014/main" id="{15FC8104-48E6-B248-8FB6-974B5ABAE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8992" y="1490071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24" name="Text Placeholder 32">
            <a:extLst>
              <a:ext uri="{FF2B5EF4-FFF2-40B4-BE49-F238E27FC236}">
                <a16:creationId xmlns:a16="http://schemas.microsoft.com/office/drawing/2014/main" id="{27C860B3-C7A0-E840-9D83-305F739202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0986" y="4646021"/>
            <a:ext cx="2285996" cy="1665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559DD1F-A98C-F14E-95DC-32EC947751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92" y="4646020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3B3ABE64-A2B2-4267-83DE-C2D349057B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bg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pic>
        <p:nvPicPr>
          <p:cNvPr id="19" name="Picture 18" descr="Accenture Greater Than symbol in white">
            <a:extLst>
              <a:ext uri="{FF2B5EF4-FFF2-40B4-BE49-F238E27FC236}">
                <a16:creationId xmlns:a16="http://schemas.microsoft.com/office/drawing/2014/main" id="{E8781F80-F3D9-42F9-B6EE-F6DC303E05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A306F6-3D4B-4153-AFB5-695424B80AC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66012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 bwMode="white"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E53630-789F-425F-8AB1-96EFF4EA1E46}"/>
              </a:ext>
            </a:extLst>
          </p:cNvPr>
          <p:cNvSpPr/>
          <p:nvPr userDrawn="1"/>
        </p:nvSpPr>
        <p:spPr bwMode="white">
          <a:xfrm>
            <a:off x="9144056" y="3155948"/>
            <a:ext cx="3047944" cy="31559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16F949-3472-4EBC-9DC1-05EC807C9FC0}"/>
              </a:ext>
            </a:extLst>
          </p:cNvPr>
          <p:cNvSpPr/>
          <p:nvPr userDrawn="1"/>
        </p:nvSpPr>
        <p:spPr bwMode="white">
          <a:xfrm>
            <a:off x="3048000" y="3155948"/>
            <a:ext cx="3047968" cy="31559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5976" y="-1"/>
            <a:ext cx="3048024" cy="3151189"/>
          </a:xfrm>
          <a:solidFill>
            <a:schemeClr val="bg1">
              <a:lumMod val="95000"/>
            </a:schemeClr>
          </a:solidFill>
        </p:spPr>
        <p:txBody>
          <a:bodyPr t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</a:t>
            </a:r>
          </a:p>
          <a:p>
            <a:r>
              <a:rPr lang="en-GB"/>
              <a:t>or click icon to add</a:t>
            </a:r>
            <a:endParaRPr lang="en-US"/>
          </a:p>
        </p:txBody>
      </p: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25007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47" name="Text Placeholder 32">
            <a:extLst>
              <a:ext uri="{FF2B5EF4-FFF2-40B4-BE49-F238E27FC236}">
                <a16:creationId xmlns:a16="http://schemas.microsoft.com/office/drawing/2014/main" id="{705CC01D-6D66-4B27-8D0E-E2205E002C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25005" y="1490071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28988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49" name="Text Placeholder 32">
            <a:extLst>
              <a:ext uri="{FF2B5EF4-FFF2-40B4-BE49-F238E27FC236}">
                <a16:creationId xmlns:a16="http://schemas.microsoft.com/office/drawing/2014/main" id="{D36C84D9-D180-4ECA-9C39-AB74A8A3E6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28986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76996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51" name="Text Placeholder 32">
            <a:extLst>
              <a:ext uri="{FF2B5EF4-FFF2-40B4-BE49-F238E27FC236}">
                <a16:creationId xmlns:a16="http://schemas.microsoft.com/office/drawing/2014/main" id="{2ACA6616-E51D-4660-96C1-738E6693F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76994" y="4647835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21" name="Picture Placeholder 35">
            <a:extLst>
              <a:ext uri="{FF2B5EF4-FFF2-40B4-BE49-F238E27FC236}">
                <a16:creationId xmlns:a16="http://schemas.microsoft.com/office/drawing/2014/main" id="{4CA191CE-F49B-4889-A102-DDD1279F3FB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0" y="3155942"/>
            <a:ext cx="3048000" cy="3155958"/>
          </a:xfrm>
          <a:solidFill>
            <a:schemeClr val="bg1">
              <a:lumMod val="95000"/>
            </a:schemeClr>
          </a:solidFill>
        </p:spPr>
        <p:txBody>
          <a:bodyPr vert="horz" lIns="0" tIns="274320" rIns="0" bIns="0" rtlCol="0" anchor="t">
            <a:noAutofit/>
          </a:bodyPr>
          <a:lstStyle>
            <a:lvl1pPr marL="0" indent="0" algn="ctr">
              <a:buNone/>
              <a:defRPr lang="en-US" sz="1400" dirty="0"/>
            </a:lvl1pPr>
          </a:lstStyle>
          <a:p>
            <a:pPr marL="228600" lvl="0" indent="-228600" algn="ctr"/>
            <a:r>
              <a:rPr lang="en-GB"/>
              <a:t>Drag picture to placeholder </a:t>
            </a:r>
          </a:p>
          <a:p>
            <a:pPr marL="228600" lvl="0" indent="-228600" algn="ctr"/>
            <a:r>
              <a:rPr lang="en-GB"/>
              <a:t>or click icon to add</a:t>
            </a:r>
            <a:endParaRPr lang="en-US"/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86209476-BF69-4014-99E6-B53C87141B4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25001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7ADCD97-A8C0-487C-9E6C-6CD77C3BE0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24999" y="4647836"/>
            <a:ext cx="2285995" cy="1662794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35" name="Text Placeholder 26">
            <a:extLst>
              <a:ext uri="{FF2B5EF4-FFF2-40B4-BE49-F238E27FC236}">
                <a16:creationId xmlns:a16="http://schemas.microsoft.com/office/drawing/2014/main" id="{9BC0904C-6BDA-4032-94C2-6417F59042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0997" y="380999"/>
            <a:ext cx="5333972" cy="2393952"/>
          </a:xfrm>
        </p:spPr>
        <p:txBody>
          <a:bodyPr anchor="ctr"/>
          <a:lstStyle>
            <a:lvl1pPr marL="0" indent="0">
              <a:buNone/>
              <a:defRPr kumimoji="0" lang="en-US" sz="36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P</a:t>
            </a: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lace headline here 36pt, min 30pt)</a:t>
            </a:r>
          </a:p>
        </p:txBody>
      </p: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272DDB3A-459D-40AA-A5E7-DDCDD2DEA3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bg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pic>
        <p:nvPicPr>
          <p:cNvPr id="23" name="Picture 22" descr="Accenture Greater Than symbol in white">
            <a:extLst>
              <a:ext uri="{FF2B5EF4-FFF2-40B4-BE49-F238E27FC236}">
                <a16:creationId xmlns:a16="http://schemas.microsoft.com/office/drawing/2014/main" id="{78774BCE-242F-4FF9-9C01-D01B97743A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1B33BA-8B14-4BE4-8987-4DD490763486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90444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Gradient Dark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ccenture Gradient Dark">
            <a:extLst>
              <a:ext uri="{FF2B5EF4-FFF2-40B4-BE49-F238E27FC236}">
                <a16:creationId xmlns:a16="http://schemas.microsoft.com/office/drawing/2014/main" id="{AB47B586-CFEE-4C32-8227-001B5A89C3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key message here 54pt</a:t>
            </a:r>
          </a:p>
        </p:txBody>
      </p:sp>
    </p:spTree>
    <p:extLst>
      <p:ext uri="{BB962C8B-B14F-4D97-AF65-F5344CB8AC3E}">
        <p14:creationId xmlns:p14="http://schemas.microsoft.com/office/powerpoint/2010/main" val="33297577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key message here 54p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5CECBE8-C9DE-46DF-9582-7DB75BEDF4F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, Mid Purple (Accent 2) or Core Purple (Accent 1)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8D9D8DCD-E7C3-4F1A-8A48-31319650AC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B0B0C095-6C73-4899-AD8E-8F75768CF51A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AFE70C-67B2-45BA-88F7-45C14692FC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9964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m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C2096B10-74C7-582A-7A30-FCCC02D5A2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469900"/>
            <a:ext cx="11430000" cy="419100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8" name="テキスト プレースホルダー 7">
            <a:extLst>
              <a:ext uri="{FF2B5EF4-FFF2-40B4-BE49-F238E27FC236}">
                <a16:creationId xmlns:a16="http://schemas.microsoft.com/office/drawing/2014/main" id="{9B997706-24F4-EEDE-50D4-B90B56BA8FB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952501"/>
            <a:ext cx="11430000" cy="762000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14628673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5AD31DD4-2506-4E03-897C-F4C8C020F0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39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headline here 54pt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2A2CFACC-0767-48E1-9FD9-763E5025E7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7" name="GTS_WH" descr="Accenture Greater Than symbol in white">
            <a:extLst>
              <a:ext uri="{FF2B5EF4-FFF2-40B4-BE49-F238E27FC236}">
                <a16:creationId xmlns:a16="http://schemas.microsoft.com/office/drawing/2014/main" id="{AE479463-B4C9-4B9A-BE8B-62B5B9CF007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5BAA91-4288-4230-8881-E1D51DEBFF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23116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8546ADE-103C-4652-A344-9C0C8C49E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480EAEA1-D575-4107-8AFC-0CAE2D4FB3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0A237C-DB73-401B-BD5B-B8B9133233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72881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D81D62B4-50F4-4143-BFCC-F5508365C8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7CFBA7-F1B1-4FF3-932C-7525FBDA5B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2781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6BF2C1-BAA9-4BAD-9934-C110D73032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F030600-A2B3-4AAD-808D-56DA9B77330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75397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</a:t>
            </a:r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5F21F7E-CEFA-4A8F-862E-8631C40CEA2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/>
              <a:t>Format Background… &gt; Picture or texture fill &gt; Set to one of the dark or mid gradient options</a:t>
            </a:r>
            <a:endParaRPr lang="en-US" noProof="0"/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494AA491-F1F8-4D38-B722-DB2F38B198B8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5779386" y="5382386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48765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C35EA4"/>
          </p15:clr>
        </p15:guide>
        <p15:guide id="2" pos="3840">
          <p15:clr>
            <a:srgbClr val="C35EA4"/>
          </p15:clr>
        </p15:guide>
        <p15:guide id="3" orient="horz" pos="3608">
          <p15:clr>
            <a:srgbClr val="C35E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Logo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</a:t>
            </a:r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B104FBB-E799-42A8-A4FA-483DC489523D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/>
              <a:t>Format Background… &gt; Picture or texture fill &gt; Set to one of the dark or mid gradient options</a:t>
            </a:r>
            <a:endParaRPr lang="en-US" noProof="0"/>
          </a:p>
        </p:txBody>
      </p:sp>
      <p:grpSp>
        <p:nvGrpSpPr>
          <p:cNvPr id="12" name="Logo_WH" descr="Accenture logo in white">
            <a:extLst>
              <a:ext uri="{FF2B5EF4-FFF2-40B4-BE49-F238E27FC236}">
                <a16:creationId xmlns:a16="http://schemas.microsoft.com/office/drawing/2014/main" id="{0D82E30B-4E95-4B73-9014-71990AE21DBE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154167" y="5374201"/>
            <a:ext cx="1883664" cy="496247"/>
            <a:chOff x="1561" y="187"/>
            <a:chExt cx="4536" cy="1195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008CD909-AC78-4980-BB04-8608F18CDC2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8B5D8E88-5919-40A0-A4A4-2E6587AD687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0217655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98">
          <p15:clr>
            <a:srgbClr val="C35EA4"/>
          </p15:clr>
        </p15:guide>
        <p15:guide id="2" pos="3840">
          <p15:clr>
            <a:srgbClr val="C35EA4"/>
          </p15:clr>
        </p15:guide>
        <p15:guide id="3" orient="horz" pos="2160">
          <p15:clr>
            <a:srgbClr val="C35E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Keylin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F26BFD-3D15-48EA-A458-43E2274B938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 72pt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09756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C35E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left-image bkg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3E7551B-7F86-46D2-A90B-DF5CC30BDFD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 72pt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  <p:sp>
        <p:nvSpPr>
          <p:cNvPr id="6" name="GTS_WH" descr="Accenture Greater Than symbol in white">
            <a:extLst>
              <a:ext uri="{FF2B5EF4-FFF2-40B4-BE49-F238E27FC236}">
                <a16:creationId xmlns:a16="http://schemas.microsoft.com/office/drawing/2014/main" id="{5820492B-C4D2-42F2-B2B8-CB1CE70F894B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0999" y="5607812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15607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C35E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theme" Target="../theme/theme2.xml"/><Relationship Id="rId5" Type="http://schemas.openxmlformats.org/officeDocument/2006/relationships/image" Target="NULL"/><Relationship Id="rId4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8.xml"/><Relationship Id="rId18" Type="http://schemas.openxmlformats.org/officeDocument/2006/relationships/slideLayout" Target="../slideLayouts/slideLayout23.xml"/><Relationship Id="rId26" Type="http://schemas.openxmlformats.org/officeDocument/2006/relationships/slideLayout" Target="../slideLayouts/slideLayout31.xml"/><Relationship Id="rId39" Type="http://schemas.openxmlformats.org/officeDocument/2006/relationships/slideLayout" Target="../slideLayouts/slideLayout44.xml"/><Relationship Id="rId21" Type="http://schemas.openxmlformats.org/officeDocument/2006/relationships/slideLayout" Target="../slideLayouts/slideLayout26.xml"/><Relationship Id="rId34" Type="http://schemas.openxmlformats.org/officeDocument/2006/relationships/slideLayout" Target="../slideLayouts/slideLayout39.xml"/><Relationship Id="rId42" Type="http://schemas.openxmlformats.org/officeDocument/2006/relationships/slideLayout" Target="../slideLayouts/slideLayout47.xml"/><Relationship Id="rId47" Type="http://schemas.openxmlformats.org/officeDocument/2006/relationships/slideLayout" Target="../slideLayouts/slideLayout52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6" Type="http://schemas.openxmlformats.org/officeDocument/2006/relationships/slideLayout" Target="../slideLayouts/slideLayout21.xml"/><Relationship Id="rId29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16.xml"/><Relationship Id="rId24" Type="http://schemas.openxmlformats.org/officeDocument/2006/relationships/slideLayout" Target="../slideLayouts/slideLayout29.xml"/><Relationship Id="rId32" Type="http://schemas.openxmlformats.org/officeDocument/2006/relationships/slideLayout" Target="../slideLayouts/slideLayout37.xml"/><Relationship Id="rId37" Type="http://schemas.openxmlformats.org/officeDocument/2006/relationships/slideLayout" Target="../slideLayouts/slideLayout42.xml"/><Relationship Id="rId40" Type="http://schemas.openxmlformats.org/officeDocument/2006/relationships/slideLayout" Target="../slideLayouts/slideLayout45.xml"/><Relationship Id="rId45" Type="http://schemas.openxmlformats.org/officeDocument/2006/relationships/slideLayout" Target="../slideLayouts/slideLayout50.xml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23" Type="http://schemas.openxmlformats.org/officeDocument/2006/relationships/slideLayout" Target="../slideLayouts/slideLayout28.xml"/><Relationship Id="rId28" Type="http://schemas.openxmlformats.org/officeDocument/2006/relationships/slideLayout" Target="../slideLayouts/slideLayout33.xml"/><Relationship Id="rId36" Type="http://schemas.openxmlformats.org/officeDocument/2006/relationships/slideLayout" Target="../slideLayouts/slideLayout41.xml"/><Relationship Id="rId49" Type="http://schemas.openxmlformats.org/officeDocument/2006/relationships/theme" Target="../theme/theme4.xml"/><Relationship Id="rId10" Type="http://schemas.openxmlformats.org/officeDocument/2006/relationships/slideLayout" Target="../slideLayouts/slideLayout15.xml"/><Relationship Id="rId19" Type="http://schemas.openxmlformats.org/officeDocument/2006/relationships/slideLayout" Target="../slideLayouts/slideLayout24.xml"/><Relationship Id="rId31" Type="http://schemas.openxmlformats.org/officeDocument/2006/relationships/slideLayout" Target="../slideLayouts/slideLayout36.xml"/><Relationship Id="rId44" Type="http://schemas.openxmlformats.org/officeDocument/2006/relationships/slideLayout" Target="../slideLayouts/slideLayout49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Relationship Id="rId22" Type="http://schemas.openxmlformats.org/officeDocument/2006/relationships/slideLayout" Target="../slideLayouts/slideLayout27.xml"/><Relationship Id="rId27" Type="http://schemas.openxmlformats.org/officeDocument/2006/relationships/slideLayout" Target="../slideLayouts/slideLayout32.xml"/><Relationship Id="rId30" Type="http://schemas.openxmlformats.org/officeDocument/2006/relationships/slideLayout" Target="../slideLayouts/slideLayout35.xml"/><Relationship Id="rId35" Type="http://schemas.openxmlformats.org/officeDocument/2006/relationships/slideLayout" Target="../slideLayouts/slideLayout40.xml"/><Relationship Id="rId43" Type="http://schemas.openxmlformats.org/officeDocument/2006/relationships/slideLayout" Target="../slideLayouts/slideLayout48.xml"/><Relationship Id="rId48" Type="http://schemas.openxmlformats.org/officeDocument/2006/relationships/slideLayout" Target="../slideLayouts/slideLayout53.xml"/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7.xml"/><Relationship Id="rId17" Type="http://schemas.openxmlformats.org/officeDocument/2006/relationships/slideLayout" Target="../slideLayouts/slideLayout22.xml"/><Relationship Id="rId25" Type="http://schemas.openxmlformats.org/officeDocument/2006/relationships/slideLayout" Target="../slideLayouts/slideLayout30.xml"/><Relationship Id="rId33" Type="http://schemas.openxmlformats.org/officeDocument/2006/relationships/slideLayout" Target="../slideLayouts/slideLayout38.xml"/><Relationship Id="rId38" Type="http://schemas.openxmlformats.org/officeDocument/2006/relationships/slideLayout" Target="../slideLayouts/slideLayout43.xml"/><Relationship Id="rId4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25.xml"/><Relationship Id="rId41" Type="http://schemas.openxmlformats.org/officeDocument/2006/relationships/slideLayout" Target="../slideLayouts/slideLayout46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/Relationships>
</file>

<file path=ppt/slideMasters/_rels/slideMaster5.xml.rels><?xml version="1.0" encoding="UTF-8" standalone="yes"?>
<Relationships xmlns="http://schemas.openxmlformats.org/package/2006/relationships"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5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First level (bullet 20pt)</a:t>
            </a:r>
          </a:p>
          <a:p>
            <a:pPr lvl="1"/>
            <a:r>
              <a:rPr lang="en-US"/>
              <a:t>Second level (bullet 20pt)</a:t>
            </a:r>
          </a:p>
          <a:p>
            <a:pPr lvl="2"/>
            <a:r>
              <a:rPr lang="en-US"/>
              <a:t>Third level (bullet 20pt)</a:t>
            </a:r>
          </a:p>
          <a:p>
            <a:pPr lvl="3"/>
            <a:r>
              <a:rPr lang="en-US"/>
              <a:t>Fourth level (bullet 18pt)</a:t>
            </a:r>
          </a:p>
          <a:p>
            <a:pPr lvl="4"/>
            <a:r>
              <a:rPr lang="en-US"/>
              <a:t>Fifth level (bullet 18pt)</a:t>
            </a:r>
          </a:p>
          <a:p>
            <a:pPr lvl="5"/>
            <a:r>
              <a:rPr lang="en-US"/>
              <a:t>Sixth level (copy 16pt)</a:t>
            </a:r>
          </a:p>
          <a:p>
            <a:pPr lvl="6"/>
            <a:r>
              <a:rPr lang="en-US"/>
              <a:t>Seventh level (small copy 12pt)</a:t>
            </a:r>
          </a:p>
          <a:p>
            <a:pPr lvl="7"/>
            <a:r>
              <a:rPr lang="en-US"/>
              <a:t>EIGHT LEVEL (DESCRIPTOR 10PT)</a:t>
            </a:r>
          </a:p>
          <a:p>
            <a:pPr lvl="8"/>
            <a:r>
              <a:rPr lang="en-US"/>
              <a:t>Ninth level (footer 8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874208" y="-24325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358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5" r:id="rId3"/>
    <p:sldLayoutId id="2147483794" r:id="rId4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kumimoji="1"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kumimoji="1"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503030202060203" pitchFamily="34" charset="0"/>
        <a:buChar char="–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503030202060203" pitchFamily="34" charset="0"/>
        <a:buChar char="–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503030202060203" pitchFamily="34" charset="0"/>
        <a:buNone/>
        <a:tabLst/>
        <a:defRPr kumimoji="1"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kumimoji="1"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kumimoji="1"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kumimoji="1"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C35EA4"/>
          </p15:clr>
        </p15:guide>
        <p15:guide id="2" orient="horz" pos="3976">
          <p15:clr>
            <a:srgbClr val="C35EA4"/>
          </p15:clr>
        </p15:guide>
        <p15:guide id="3" pos="240">
          <p15:clr>
            <a:srgbClr val="C35EA4"/>
          </p15:clr>
        </p15:guide>
        <p15:guide id="4" pos="7440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77DDB142-D2CF-40B4-A01C-1017D011CA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395" imgH="396" progId="TCLayout.ActiveDocument.1">
                  <p:embed/>
                </p:oleObj>
              </mc:Choice>
              <mc:Fallback>
                <p:oleObj name="think-cell スライド" r:id="rId4" imgW="395" imgH="396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77DDB142-D2CF-40B4-A01C-1017D011CA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正方形/長方形 4" hidden="1">
            <a:extLst>
              <a:ext uri="{FF2B5EF4-FFF2-40B4-BE49-F238E27FC236}">
                <a16:creationId xmlns:a16="http://schemas.microsoft.com/office/drawing/2014/main" id="{A7CD7099-4CF2-4A72-8769-1A42098B3C7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kumimoji="1" lang="ja-JP" altLang="en-US" sz="4800" b="0" i="0" baseline="0">
              <a:latin typeface="Meiryo UI" panose="020B0604030504040204" pitchFamily="50" charset="-128"/>
              <a:ea typeface="Meiryo UI" panose="020B0604030504040204" pitchFamily="50" charset="-128"/>
              <a:cs typeface="+mj-cs"/>
              <a:sym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8331496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ctr" defTabSz="914309" rtl="0" eaLnBrk="1" latinLnBrk="0" hangingPunct="1">
        <a:lnSpc>
          <a:spcPct val="90000"/>
        </a:lnSpc>
        <a:spcBef>
          <a:spcPct val="0"/>
        </a:spcBef>
        <a:buNone/>
        <a:defRPr kumimoji="1" sz="48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j-cs"/>
          <a:sym typeface="Meiryo UI" panose="020B0604030504040204" pitchFamily="50" charset="-128"/>
        </a:defRPr>
      </a:lvl1pPr>
    </p:titleStyle>
    <p:bodyStyle>
      <a:lvl1pPr marL="228577" indent="-228577" algn="ctr" defTabSz="9143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b="1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1pPr>
      <a:lvl2pPr marL="685731" indent="-228577" algn="ctr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399" b="1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2pPr>
      <a:lvl3pPr marL="1142886" indent="-228577" algn="ctr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999" b="1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3pPr>
      <a:lvl4pPr marL="1600040" indent="-228577" algn="ctr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799" b="1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4pPr>
      <a:lvl5pPr marL="2057194" indent="-228577" algn="ctr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799" b="1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5pPr>
      <a:lvl6pPr marL="2514348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2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2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5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0392DB9-1922-8C08-8166-1BBC6E9773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415" imgH="416" progId="TCLayout.ActiveDocument.1">
                  <p:embed/>
                </p:oleObj>
              </mc:Choice>
              <mc:Fallback>
                <p:oleObj name="think-cell スライド" r:id="rId4" imgW="415" imgH="41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0392DB9-1922-8C08-8166-1BBC6E9773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  <a:noFill/>
          <a:ln w="12700" cmpd="sng">
            <a:noFill/>
            <a:prstDash val="solid"/>
          </a:ln>
        </p:spPr>
        <p:txBody>
          <a:bodyPr vert="horz" wrap="square" lIns="91440" tIns="45720" rIns="91440" bIns="45720" rtlCol="0" anchor="ctr" anchorCtr="0">
            <a:noAutofit/>
          </a:bodyPr>
          <a:lstStyle/>
          <a:p>
            <a:pPr lvl="0"/>
            <a:r>
              <a:rPr lang="en-US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  <a:noFill/>
          <a:ln w="12700" cmpd="sng">
            <a:noFill/>
            <a:prstDash val="solid"/>
          </a:ln>
        </p:spPr>
        <p:txBody>
          <a:bodyPr vert="horz" wrap="square" lIns="91440" tIns="45720" rIns="91440" bIns="45720" rtlCol="0" anchor="t" anchorCtr="0">
            <a:noAutofit/>
          </a:bodyPr>
          <a:lstStyle/>
          <a:p>
            <a:pPr marL="0" lvl="0" indent="0">
              <a:spcAft>
                <a:spcPts val="0"/>
              </a:spcAft>
              <a:buNone/>
            </a:pPr>
            <a:r>
              <a:rPr lang="en-US"/>
              <a:t>Place message here</a:t>
            </a:r>
          </a:p>
        </p:txBody>
      </p:sp>
    </p:spTree>
    <p:extLst>
      <p:ext uri="{BB962C8B-B14F-4D97-AF65-F5344CB8AC3E}">
        <p14:creationId xmlns:p14="http://schemas.microsoft.com/office/powerpoint/2010/main" val="29087457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kumimoji="1" lang="en-US" sz="3000" b="1" kern="1200" dirty="0">
          <a:solidFill>
            <a:srgbClr val="000000"/>
          </a:solidFill>
          <a:latin typeface="Meiryo UI"/>
          <a:ea typeface="Meiryo UI"/>
          <a:cs typeface="+mj-cs"/>
        </a:defRPr>
      </a:lvl1pPr>
    </p:titleStyle>
    <p:bodyStyle>
      <a:lvl1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kumimoji="1" lang="en-US" sz="1800" b="0" kern="1200" dirty="0">
          <a:solidFill>
            <a:srgbClr val="000000"/>
          </a:solidFill>
          <a:latin typeface="Meiryo UI"/>
          <a:ea typeface="Meiryo UI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Graphik" panose="020B0503030202060203" pitchFamily="34" charset="0"/>
        <a:buChar char="–"/>
        <a:defRPr kumimoji="1" lang="en-US" sz="20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kumimoji="1" lang="en-US" sz="20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kumimoji="1" lang="en-US" sz="18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kumimoji="1" lang="en-US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503030202060203" pitchFamily="34" charset="0"/>
        <a:buNone/>
        <a:tabLst/>
        <a:defRPr kumimoji="1" lang="en-US" sz="1600" kern="1200" dirty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kumimoji="1" lang="en-US" sz="1200" kern="1200" dirty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kumimoji="1" lang="en-US" sz="1000" b="1" kern="120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kumimoji="1" lang="en-US" sz="800" kern="1200" dirty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C35EA4"/>
          </p15:clr>
        </p15:guide>
        <p15:guide id="2" orient="horz" pos="3976">
          <p15:clr>
            <a:srgbClr val="C35EA4"/>
          </p15:clr>
        </p15:guide>
        <p15:guide id="3" pos="240">
          <p15:clr>
            <a:srgbClr val="C35EA4"/>
          </p15:clr>
        </p15:guide>
        <p15:guide id="4" pos="7440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First level (bullet 20pt)</a:t>
            </a:r>
          </a:p>
          <a:p>
            <a:pPr lvl="1"/>
            <a:r>
              <a:rPr lang="en-US"/>
              <a:t>Second level (bullet 20pt)</a:t>
            </a:r>
          </a:p>
          <a:p>
            <a:pPr lvl="2"/>
            <a:r>
              <a:rPr lang="en-US"/>
              <a:t>Third level (bullet 20pt)</a:t>
            </a:r>
          </a:p>
          <a:p>
            <a:pPr lvl="3"/>
            <a:r>
              <a:rPr lang="en-US"/>
              <a:t>Fourth level (bullet 18pt)</a:t>
            </a:r>
          </a:p>
          <a:p>
            <a:pPr lvl="4"/>
            <a:r>
              <a:rPr lang="en-US"/>
              <a:t>Fifth level (bullet 18pt)</a:t>
            </a:r>
          </a:p>
          <a:p>
            <a:pPr lvl="5"/>
            <a:r>
              <a:rPr lang="en-US"/>
              <a:t>Sixth level (copy 16pt)</a:t>
            </a:r>
          </a:p>
          <a:p>
            <a:pPr lvl="6"/>
            <a:r>
              <a:rPr lang="en-US"/>
              <a:t>Seventh level (small copy 12pt)</a:t>
            </a:r>
          </a:p>
          <a:p>
            <a:pPr lvl="7"/>
            <a:r>
              <a:rPr lang="en-US"/>
              <a:t>EIGHT LEVEL (DESCRIPTOR 10PT)</a:t>
            </a:r>
          </a:p>
          <a:p>
            <a:pPr lvl="8"/>
            <a:r>
              <a:rPr lang="en-US"/>
              <a:t>Ninth level (footer 8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09906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59" r:id="rId14"/>
    <p:sldLayoutId id="2147483760" r:id="rId15"/>
    <p:sldLayoutId id="2147483761" r:id="rId16"/>
    <p:sldLayoutId id="2147483762" r:id="rId17"/>
    <p:sldLayoutId id="2147483763" r:id="rId18"/>
    <p:sldLayoutId id="2147483764" r:id="rId19"/>
    <p:sldLayoutId id="2147483765" r:id="rId20"/>
    <p:sldLayoutId id="2147483766" r:id="rId21"/>
    <p:sldLayoutId id="2147483767" r:id="rId22"/>
    <p:sldLayoutId id="2147483768" r:id="rId23"/>
    <p:sldLayoutId id="2147483769" r:id="rId24"/>
    <p:sldLayoutId id="2147483770" r:id="rId25"/>
    <p:sldLayoutId id="2147483771" r:id="rId26"/>
    <p:sldLayoutId id="2147483772" r:id="rId27"/>
    <p:sldLayoutId id="2147483773" r:id="rId28"/>
    <p:sldLayoutId id="2147483774" r:id="rId29"/>
    <p:sldLayoutId id="2147483775" r:id="rId30"/>
    <p:sldLayoutId id="2147483776" r:id="rId31"/>
    <p:sldLayoutId id="2147483777" r:id="rId32"/>
    <p:sldLayoutId id="2147483778" r:id="rId33"/>
    <p:sldLayoutId id="2147483779" r:id="rId34"/>
    <p:sldLayoutId id="2147483780" r:id="rId35"/>
    <p:sldLayoutId id="2147483781" r:id="rId36"/>
    <p:sldLayoutId id="2147483782" r:id="rId37"/>
    <p:sldLayoutId id="2147483783" r:id="rId38"/>
    <p:sldLayoutId id="2147483784" r:id="rId39"/>
    <p:sldLayoutId id="2147483785" r:id="rId40"/>
    <p:sldLayoutId id="2147483786" r:id="rId41"/>
    <p:sldLayoutId id="2147483787" r:id="rId42"/>
    <p:sldLayoutId id="2147483788" r:id="rId43"/>
    <p:sldLayoutId id="2147483789" r:id="rId44"/>
    <p:sldLayoutId id="2147483790" r:id="rId45"/>
    <p:sldLayoutId id="2147483791" r:id="rId46"/>
    <p:sldLayoutId id="2147483792" r:id="rId47"/>
    <p:sldLayoutId id="2147483793" r:id="rId48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kumimoji="1"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kumimoji="1"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Graphik" panose="020B0503030202060203" pitchFamily="34" charset="0"/>
        <a:buChar char="–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503030202060203" pitchFamily="34" charset="0"/>
        <a:buNone/>
        <a:tabLst/>
        <a:defRPr kumimoji="1"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kumimoji="1"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kumimoji="1"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kumimoji="1"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C35EA4"/>
          </p15:clr>
        </p15:guide>
        <p15:guide id="2" orient="horz" pos="3976">
          <p15:clr>
            <a:srgbClr val="C35EA4"/>
          </p15:clr>
        </p15:guide>
        <p15:guide id="3" pos="240">
          <p15:clr>
            <a:srgbClr val="C35EA4"/>
          </p15:clr>
        </p15:guide>
        <p15:guide id="4" pos="7440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hyperlink" Target="https://bee-together.jp/course/view.php?id=17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bee-together.jp/course/view.php?id=17" TargetMode="Externa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スライド番号プレースホルダー 2">
            <a:extLst>
              <a:ext uri="{FF2B5EF4-FFF2-40B4-BE49-F238E27FC236}">
                <a16:creationId xmlns:a16="http://schemas.microsoft.com/office/drawing/2014/main" id="{AF435FA3-A778-0432-1962-37557DC667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EE3D1273-210D-5029-D663-0F8E9CDC3EE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ja-JP" altLang="en-US" sz="11500" b="1"/>
              <a:t>教員向け指導案</a:t>
            </a:r>
            <a:br>
              <a:rPr lang="en-US" altLang="ja-JP" sz="11500" b="1"/>
            </a:br>
            <a:r>
              <a:rPr lang="ja-JP" altLang="en-US" sz="11500" b="1"/>
              <a:t>問題解決セミナー</a:t>
            </a:r>
            <a:endParaRPr kumimoji="1" lang="ja-JP" altLang="en-US" sz="11500" b="1" dirty="0" err="1"/>
          </a:p>
        </p:txBody>
      </p:sp>
    </p:spTree>
    <p:extLst>
      <p:ext uri="{BB962C8B-B14F-4D97-AF65-F5344CB8AC3E}">
        <p14:creationId xmlns:p14="http://schemas.microsoft.com/office/powerpoint/2010/main" val="28083525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83AEA926-55C1-1258-FCB7-EFE00745E2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39" y="488360"/>
            <a:ext cx="5739119" cy="1340439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br>
              <a:rPr lang="en-US" altLang="ja-JP" dirty="0"/>
            </a:br>
            <a:r>
              <a:rPr lang="ja-JP" altLang="en-US" dirty="0">
                <a:hlinkClick r:id="rId2"/>
              </a:rPr>
              <a:t>「“ステテコ”を海外で売るには」</a:t>
            </a:r>
            <a:endParaRPr kumimoji="1" lang="ja-JP" altLang="en-US" dirty="0"/>
          </a:p>
        </p:txBody>
      </p:sp>
      <p:pic>
        <p:nvPicPr>
          <p:cNvPr id="6" name="図 5">
            <a:extLst>
              <a:ext uri="{FF2B5EF4-FFF2-40B4-BE49-F238E27FC236}">
                <a16:creationId xmlns:a16="http://schemas.microsoft.com/office/drawing/2014/main" id="{A2D8AC17-5D77-D8CC-8DAD-F808889956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68217" y="3375607"/>
            <a:ext cx="4913136" cy="3337021"/>
          </a:xfrm>
          <a:prstGeom prst="rect">
            <a:avLst/>
          </a:prstGeom>
        </p:spPr>
      </p:pic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7B61C519-98AC-1AF8-1382-1BD85C65C47C}"/>
              </a:ext>
            </a:extLst>
          </p:cNvPr>
          <p:cNvSpPr txBox="1"/>
          <p:nvPr/>
        </p:nvSpPr>
        <p:spPr>
          <a:xfrm>
            <a:off x="645639" y="2635880"/>
            <a:ext cx="6293921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ja-JP" sz="2000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【</a:t>
            </a:r>
            <a:r>
              <a:rPr lang="ja-JP" altLang="en-US" sz="2000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コンテンツの進め方</a:t>
            </a:r>
            <a:r>
              <a:rPr lang="en-US" altLang="ja-JP" sz="2000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】</a:t>
            </a:r>
            <a:br>
              <a:rPr lang="ja-JP" altLang="en-US" sz="2000" dirty="0"/>
            </a:br>
            <a:r>
              <a:rPr lang="ja-JP" altLang="en-US" sz="2000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　この</a:t>
            </a:r>
            <a:r>
              <a:rPr lang="en-US" altLang="ja-JP" sz="2000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Course</a:t>
            </a:r>
            <a:r>
              <a:rPr lang="ja-JP" altLang="en-US" sz="2000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は、講師の方の教材となっております。</a:t>
            </a:r>
            <a:br>
              <a:rPr lang="ja-JP" altLang="en-US" sz="2000" dirty="0"/>
            </a:br>
            <a:r>
              <a:rPr lang="ja-JP" altLang="en-US" sz="2000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　</a:t>
            </a:r>
            <a:r>
              <a:rPr lang="en-US" altLang="ja-JP" sz="2000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1)</a:t>
            </a:r>
            <a:r>
              <a:rPr lang="ja-JP" altLang="en-US" sz="2000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　学習前アンケートの実施</a:t>
            </a:r>
            <a:br>
              <a:rPr lang="ja-JP" altLang="en-US" sz="2000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</a:br>
            <a:r>
              <a:rPr lang="ja-JP" altLang="en-US" sz="2000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　</a:t>
            </a:r>
            <a:r>
              <a:rPr lang="en-US" altLang="ja-JP" sz="2000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2)</a:t>
            </a:r>
            <a:r>
              <a:rPr lang="ja-JP" altLang="en-US" sz="2000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　指導要領の閲覧</a:t>
            </a:r>
            <a:br>
              <a:rPr lang="ja-JP" altLang="en-US" sz="2000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</a:br>
            <a:r>
              <a:rPr lang="ja-JP" altLang="en-US" sz="2000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　</a:t>
            </a:r>
            <a:r>
              <a:rPr lang="en-US" altLang="ja-JP" sz="2000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3)</a:t>
            </a:r>
            <a:r>
              <a:rPr lang="ja-JP" altLang="en-US" sz="2000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　役割別資料（配布資料・生徒用）の印刷</a:t>
            </a:r>
            <a:br>
              <a:rPr lang="ja-JP" altLang="en-US" sz="2000" dirty="0"/>
            </a:br>
            <a:r>
              <a:rPr lang="ja-JP" altLang="en-US" sz="2000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　</a:t>
            </a:r>
            <a:r>
              <a:rPr lang="en-US" altLang="ja-JP" sz="2000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4)</a:t>
            </a:r>
            <a:r>
              <a:rPr lang="ja-JP" altLang="en-US" sz="2000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　投影資料（講師用）の確認</a:t>
            </a:r>
            <a:br>
              <a:rPr lang="ja-JP" altLang="en-US" sz="2000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</a:br>
            <a:r>
              <a:rPr lang="ja-JP" altLang="en-US" sz="2000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　</a:t>
            </a:r>
            <a:r>
              <a:rPr lang="en-US" altLang="ja-JP" sz="2000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5)</a:t>
            </a:r>
            <a:r>
              <a:rPr lang="ja-JP" altLang="en-US" sz="2000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　授業の実施</a:t>
            </a:r>
            <a:br>
              <a:rPr lang="ja-JP" altLang="en-US" sz="2000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</a:br>
            <a:r>
              <a:rPr lang="ja-JP" altLang="en-US" sz="2000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　</a:t>
            </a:r>
            <a:r>
              <a:rPr lang="en-US" altLang="ja-JP" sz="2000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6)</a:t>
            </a:r>
            <a:r>
              <a:rPr lang="ja-JP" altLang="en-US" sz="2000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　学習後アンケートの実施</a:t>
            </a:r>
            <a:endParaRPr lang="ja-JP" altLang="en-US" sz="2000" dirty="0"/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C76324A4-B6CD-A8AC-E744-6EC49AC23A0C}"/>
              </a:ext>
            </a:extLst>
          </p:cNvPr>
          <p:cNvSpPr txBox="1"/>
          <p:nvPr/>
        </p:nvSpPr>
        <p:spPr>
          <a:xfrm>
            <a:off x="992193" y="5289146"/>
            <a:ext cx="4154905" cy="29109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r>
              <a:rPr kumimoji="1" lang="en-US" altLang="ja-JP" noProof="0" dirty="0"/>
              <a:t>※</a:t>
            </a:r>
            <a:r>
              <a:rPr kumimoji="1" lang="ja-JP" altLang="en-US" noProof="0" dirty="0"/>
              <a:t>利用には無料会員登録が必要になります。</a:t>
            </a:r>
          </a:p>
        </p:txBody>
      </p:sp>
      <p:pic>
        <p:nvPicPr>
          <p:cNvPr id="3" name="図 2">
            <a:extLst>
              <a:ext uri="{FF2B5EF4-FFF2-40B4-BE49-F238E27FC236}">
                <a16:creationId xmlns:a16="http://schemas.microsoft.com/office/drawing/2014/main" id="{11D8BA13-215F-E553-8210-6F7B44650C36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12434"/>
          <a:stretch/>
        </p:blipFill>
        <p:spPr>
          <a:xfrm>
            <a:off x="6669001" y="253896"/>
            <a:ext cx="5104073" cy="3040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01487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99EA80-1492-5C59-AFEB-CEC0A35F37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2B860425-6C4C-EE08-9602-176A159248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89652" y="1779104"/>
            <a:ext cx="8855765" cy="254441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br>
              <a:rPr lang="en-US" altLang="ja-JP" sz="4000" dirty="0">
                <a:solidFill>
                  <a:srgbClr val="192F72"/>
                </a:solidFill>
              </a:rPr>
            </a:br>
            <a:r>
              <a:rPr lang="ja-JP" altLang="en-US" sz="4000" dirty="0">
                <a:solidFill>
                  <a:srgbClr val="192F72"/>
                </a:solidFill>
                <a:hlinkClick r:id="rId2"/>
              </a:rPr>
              <a:t>指導案詳細はこちらをクリック！</a:t>
            </a:r>
            <a:br>
              <a:rPr kumimoji="1" lang="en-US" altLang="ja-JP" sz="4000" dirty="0">
                <a:solidFill>
                  <a:srgbClr val="192F72"/>
                </a:solidFill>
              </a:rPr>
            </a:br>
            <a:r>
              <a:rPr kumimoji="1" lang="en-US" altLang="ja-JP" sz="4000" dirty="0">
                <a:solidFill>
                  <a:srgbClr val="192F72"/>
                </a:solidFill>
              </a:rPr>
              <a:t>※</a:t>
            </a:r>
            <a:r>
              <a:rPr kumimoji="1" lang="ja-JP" altLang="en-US" sz="4000" dirty="0">
                <a:solidFill>
                  <a:srgbClr val="192F72"/>
                </a:solidFill>
              </a:rPr>
              <a:t>掲載ページ下の説明欄にもリンクあり</a:t>
            </a:r>
          </a:p>
        </p:txBody>
      </p:sp>
    </p:spTree>
    <p:extLst>
      <p:ext uri="{BB962C8B-B14F-4D97-AF65-F5344CB8AC3E}">
        <p14:creationId xmlns:p14="http://schemas.microsoft.com/office/powerpoint/2010/main" val="9232013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7gg1d5MMII9a4lQzYO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Accenture 2020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ユーザー定義 1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Presentation1" id="{F923E741-26DF-4855-9086-A2FB5A077DF7}" vid="{D3786805-4C07-42CC-9241-00C3AB350D39}"/>
    </a:ext>
  </a:extLst>
</a:theme>
</file>

<file path=ppt/theme/theme2.xml><?xml version="1.0" encoding="utf-8"?>
<a:theme xmlns:a="http://schemas.openxmlformats.org/drawingml/2006/main" name="4_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ユーザー定義 2">
      <a:majorFont>
        <a:latin typeface="Century Gothic"/>
        <a:ea typeface="HGP創英角ｺﾞｼｯｸUB"/>
        <a:cs typeface=""/>
      </a:majorFont>
      <a:minorFont>
        <a:latin typeface="Century Gothic"/>
        <a:ea typeface="Meiryo UI"/>
        <a:cs typeface="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rot="0" spcFirstLastPara="0" vertOverflow="overflow" horzOverflow="overflow" vert="horz" wrap="square" lIns="48011" tIns="0" rIns="48011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ts val="100"/>
          </a:spcBef>
          <a:spcAft>
            <a:spcPts val="200"/>
          </a:spcAft>
          <a:buClrTx/>
          <a:buSzTx/>
          <a:buFontTx/>
          <a:buNone/>
          <a:tabLst/>
          <a:defRPr kumimoji="1" sz="1400" b="0" i="0" u="none" strike="noStrike" kern="1200" cap="none" spc="0" normalizeH="0" baseline="0" noProof="0" dirty="0">
            <a:ln>
              <a:noFill/>
            </a:ln>
            <a:solidFill>
              <a:prstClr val="black"/>
            </a:solidFill>
            <a:effectLst/>
            <a:uLnTx/>
            <a:uFillTx/>
            <a:latin typeface="Meiryo UI" pitchFamily="50" charset="-128"/>
            <a:ea typeface="Meiryo UI" pitchFamily="50" charset="-128"/>
            <a:sym typeface="ヒラギノ角ゴ Pro W3" charset="0"/>
          </a:defRPr>
        </a:defPPr>
      </a:lstStyle>
    </a:spDef>
    <a:lnDef>
      <a:spPr>
        <a:ln w="9525">
          <a:solidFill>
            <a:schemeClr val="bg1">
              <a:lumMod val="50000"/>
            </a:scheme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kumimoji="1" sz="1800" dirty="0" smtClean="0">
            <a:latin typeface="+mn-ea"/>
            <a:ea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Accenture 2020">
  <a:themeElements>
    <a:clrScheme name="ユーザー定義 1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Meiryo UI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3175">
          <a:solidFill>
            <a:schemeClr val="tx1"/>
          </a:solidFill>
        </a:ln>
      </a:spPr>
      <a:bodyPr tIns="91440" bIns="91440" rtlCol="0" anchor="ctr"/>
      <a:lstStyle>
        <a:defPPr algn="ctr">
          <a:defRPr kumimoji="1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 anchor="ctr">
        <a:noAutofit/>
      </a:bodyPr>
      <a:lstStyle>
        <a:defPPr algn="ctr" defTabSz="228600">
          <a:spcAft>
            <a:spcPts val="1200"/>
          </a:spcAft>
          <a:defRPr kumimoji="1" sz="1600"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Presentation1" id="{0AAAE6A5-A320-45BD-B396-08B8A6FB0380}" vid="{34FCC4C4-B9AB-4F6A-9DFC-C46F8F738C98}"/>
    </a:ext>
  </a:extLst>
</a:theme>
</file>

<file path=ppt/theme/theme4.xml><?xml version="1.0" encoding="utf-8"?>
<a:theme xmlns:a="http://schemas.openxmlformats.org/drawingml/2006/main" name="Accenture 2020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IMP_Acc_PPT_Tmplt_Graphik_210225_Fixed_Accessible.potx" id="{80BF15C9-A5DA-472C-9F1E-82F4EBB43D59}" vid="{02DD174B-CE7A-418B-90DA-AC9D16AAE59C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游ゴシック Light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399F1122-9C85-474C-80D7-BE37AB426767}">
  <we:reference id="12cf32e2-483a-4204-b71b-bf2af83debf2" version="1.2.0.0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be4028e4-8fc5-4b13-8dd8-d45891091dfb" xsi:nil="true"/>
    <lcf76f155ced4ddcb4097134ff3c332f xmlns="8bfc3d79-29c4-473a-9698-926f22136cb6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4D7DDA8DF56D04FA713252812CA3FCB" ma:contentTypeVersion="18" ma:contentTypeDescription="Create a new document." ma:contentTypeScope="" ma:versionID="cfb07f37d28ab232d7b8e55cbf44ed7d">
  <xsd:schema xmlns:xsd="http://www.w3.org/2001/XMLSchema" xmlns:xs="http://www.w3.org/2001/XMLSchema" xmlns:p="http://schemas.microsoft.com/office/2006/metadata/properties" xmlns:ns2="8bfc3d79-29c4-473a-9698-926f22136cb6" xmlns:ns3="be4028e4-8fc5-4b13-8dd8-d45891091dfb" targetNamespace="http://schemas.microsoft.com/office/2006/metadata/properties" ma:root="true" ma:fieldsID="d57f7eb398d784fd859f3ce9ab686010" ns2:_="" ns3:_="">
    <xsd:import namespace="8bfc3d79-29c4-473a-9698-926f22136cb6"/>
    <xsd:import namespace="be4028e4-8fc5-4b13-8dd8-d45891091df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Locatio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bfc3d79-29c4-473a-9698-926f22136cb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6d165d17-9b79-46c3-82b9-c927e733c4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4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e4028e4-8fc5-4b13-8dd8-d45891091dfb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e557aa36-1df3-4b41-a8e9-d98e519eec03}" ma:internalName="TaxCatchAll" ma:showField="CatchAllData" ma:web="be4028e4-8fc5-4b13-8dd8-d45891091df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9E42D44-8F53-4BE1-83D7-D861A317DCFA}">
  <ds:schemaRefs>
    <ds:schemaRef ds:uri="http://purl.org/dc/elements/1.1/"/>
    <ds:schemaRef ds:uri="http://schemas.microsoft.com/office/2006/documentManagement/types"/>
    <ds:schemaRef ds:uri="8bfc3d79-29c4-473a-9698-926f22136cb6"/>
    <ds:schemaRef ds:uri="http://schemas.microsoft.com/office/2006/metadata/properties"/>
    <ds:schemaRef ds:uri="http://purl.org/dc/terms/"/>
    <ds:schemaRef ds:uri="be4028e4-8fc5-4b13-8dd8-d45891091dfb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AB25256C-92B0-428C-9925-EF35CA18D50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C1618D8-1B14-47F2-86A2-46CA4BD231AC}">
  <ds:schemaRefs>
    <ds:schemaRef ds:uri="8bfc3d79-29c4-473a-9698-926f22136cb6"/>
    <ds:schemaRef ds:uri="be4028e4-8fc5-4b13-8dd8-d45891091df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2817</TotalTime>
  <Words>128</Words>
  <Application>Microsoft Office PowerPoint</Application>
  <PresentationFormat>ワイド画面</PresentationFormat>
  <Paragraphs>6</Paragraphs>
  <Slides>3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5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3</vt:i4>
      </vt:variant>
    </vt:vector>
  </HeadingPairs>
  <TitlesOfParts>
    <vt:vector size="14" baseType="lpstr">
      <vt:lpstr>Meiryo UI</vt:lpstr>
      <vt:lpstr>游ゴシック</vt:lpstr>
      <vt:lpstr>Arial</vt:lpstr>
      <vt:lpstr>Graphik</vt:lpstr>
      <vt:lpstr>Palatino Linotype</vt:lpstr>
      <vt:lpstr>2_Accenture 2020</vt:lpstr>
      <vt:lpstr>4_Office テーマ</vt:lpstr>
      <vt:lpstr>4_Accenture 2020</vt:lpstr>
      <vt:lpstr>Accenture 2020</vt:lpstr>
      <vt:lpstr>Office Theme</vt:lpstr>
      <vt:lpstr>think-cell スライド</vt:lpstr>
      <vt:lpstr>PowerPoint プレゼンテーション</vt:lpstr>
      <vt:lpstr> 「“ステテコ”を海外で売るには」</vt:lpstr>
      <vt:lpstr> 指導案詳細はこちらをクリック！ ※掲載ページ下の説明欄にもリンクあり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IE アジェンダとその他討議事項</dc:title>
  <dc:creator>Kamatani, Karin</dc:creator>
  <cp:lastModifiedBy>Nagano, Sakura</cp:lastModifiedBy>
  <cp:revision>27</cp:revision>
  <dcterms:created xsi:type="dcterms:W3CDTF">2024-08-07T03:55:19Z</dcterms:created>
  <dcterms:modified xsi:type="dcterms:W3CDTF">2025-09-01T08:15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4D7DDA8DF56D04FA713252812CA3FCB</vt:lpwstr>
  </property>
  <property fmtid="{D5CDD505-2E9C-101B-9397-08002B2CF9AE}" pid="3" name="MediaServiceImageTags">
    <vt:lpwstr/>
  </property>
</Properties>
</file>